
<file path=[Content_Types].xml><?xml version="1.0" encoding="utf-8"?>
<Types xmlns="http://schemas.openxmlformats.org/package/2006/content-types">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ags/tag2.xml" ContentType="application/vnd.openxmlformats-officedocument.presentationml.tags+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theme/themeOverride1.xml" ContentType="application/vnd.openxmlformats-officedocument.themeOverride+xml"/>
  <Override PartName="/ppt/notesSlides/notesSlide2.xml" ContentType="application/vnd.openxmlformats-officedocument.presentationml.notesSlide+xml"/>
  <Override PartName="/ppt/theme/themeOverride2.xml" ContentType="application/vnd.openxmlformats-officedocument.themeOverride+xml"/>
  <Override PartName="/ppt/notesSlides/notesSlide3.xml" ContentType="application/vnd.openxmlformats-officedocument.presentationml.notesSlide+xml"/>
  <Override PartName="/ppt/theme/themeOverride3.xml" ContentType="application/vnd.openxmlformats-officedocument.themeOverr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heme/themeOverride4.xml" ContentType="application/vnd.openxmlformats-officedocument.themeOverride+xml"/>
  <Override PartName="/ppt/notesSlides/notesSlide6.xml" ContentType="application/vnd.openxmlformats-officedocument.presentationml.notesSlide+xml"/>
  <Override PartName="/ppt/theme/themeOverride5.xml" ContentType="application/vnd.openxmlformats-officedocument.themeOverr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5114" r:id="rId4"/>
    <p:sldMasterId id="2147485119" r:id="rId5"/>
  </p:sldMasterIdLst>
  <p:notesMasterIdLst>
    <p:notesMasterId r:id="rId16"/>
  </p:notesMasterIdLst>
  <p:handoutMasterIdLst>
    <p:handoutMasterId r:id="rId17"/>
  </p:handoutMasterIdLst>
  <p:sldIdLst>
    <p:sldId id="2147482554" r:id="rId6"/>
    <p:sldId id="293" r:id="rId7"/>
    <p:sldId id="2147481758" r:id="rId8"/>
    <p:sldId id="260" r:id="rId9"/>
    <p:sldId id="286" r:id="rId10"/>
    <p:sldId id="2147483613" r:id="rId11"/>
    <p:sldId id="280" r:id="rId12"/>
    <p:sldId id="292" r:id="rId13"/>
    <p:sldId id="287" r:id="rId14"/>
    <p:sldId id="2147482555" r:id="rId15"/>
  </p:sldIdLst>
  <p:sldSz cx="12192000" cy="6858000"/>
  <p:notesSz cx="6858000" cy="9144000"/>
  <p:custDataLst>
    <p:tags r:id="rId18"/>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86F9D803-EAC1-1AA3-2281-34E69E597C78}" name="Hannah Hopkins (Mulcahy Consulting Inc)" initials="HH" userId="S::v-hhopkins@microsoft.com::41ad460d-3a92-437a-8db1-5b068207d67e" providerId="AD"/>
  <p188:author id="{68F95D0D-0218-923E-ABAD-EC4D73DDC450}" name="Scott Adams" initials="" userId="S::scadam@microsoft.com::2e0bb53a-50f4-4ef4-b3ed-4327e607901e" providerId="AD"/>
  <p188:author id="{5A02B80E-149C-7DFD-4E8D-3782118F40E7}" name="Alicia Peterson (NAYAMODE INC)" initials="AP" userId="S::v-petersonal@microsoft.com::f8898314-5523-4930-acf0-2b563b2b4dc9" providerId="AD"/>
  <p188:author id="{510D8F14-A022-0A99-8116-51D39974EA9F}" name="Anne Fernando" initials="AF" userId="S::anfern@microsoft.com::c02b9aa4-0131-48a6-ac5f-35d8d38dc7d1" providerId="AD"/>
  <p188:author id="{E7FE3741-CC67-CB32-C8DC-B87A1AF6B124}" name="Caitlin Odame" initials="CO" userId="S::caitlinodame@microsoft.com::7a244b68-dea7-4f6e-b5de-4621d24877e6" providerId="AD"/>
  <p188:author id="{8CCDF05C-9913-2C10-7BD5-0DD63B55DE99}" name="Vid Chari" initials="VC" userId="S::vichari@microsoft.com::9217d3af-3a1e-4c18-ba25-206cd1ddbcfa" providerId="AD"/>
  <p188:author id="{F7D53E64-ED34-8FD0-F86B-BD1774EAC744}" name="Racheal Skoko" initials="RS" userId="S::racheal@theodigogroup.com::21cdd38b-926c-455d-b625-c1a87f1ae0ea" providerId="AD"/>
  <p188:author id="{66E121CC-5CF3-0202-0B4D-DF1DDF1CFCA2}" name="Kerry Cobb" initials="KC" userId="S::kerry_theodigogroup.com#ext#@microsoft.onmicrosoft.com::89f3f33f-3c42-4fdd-ae26-4995b5776285" providerId="AD"/>
  <p188:author id="{1A65CFCC-B693-3F3F-8805-0538B4F8FE19}" name="Kate Moran (BEYONDSOFT CONSULTING INC)" initials="KI" userId="S::v-katemoran@microsoft.com::859a87ad-c469-4d9a-af8d-9400eb431709" providerId="AD"/>
  <p188:author id="{0A5C98D6-64E3-C859-C3CF-A788E99B286A}" name="Paula Costa" initials="PC" userId="S::paulaco@microsoft.com::6168b8aa-f64d-4741-99ae-b8d2d3488c7f" providerId="AD"/>
  <p188:author id="{16B3E6EB-1235-FCC0-D390-6DB61CAD54BA}" name="Ambreen Hassan" initials="AH" userId="S::amhassan@microsoft.com::defa224d-8c47-4a24-8c98-cc74beae06fc" providerId="AD"/>
  <p188:author id="{D253CFEC-7516-56CF-432D-70693E42080D}" name="Sydney Ackerman" initials="SA" userId="S::sydney_theodigogroup.com#ext#@microsoft.onmicrosoft.com::55db1ce8-f7bb-4886-a9d4-3b42afb92a00" providerId="AD"/>
  <p188:author id="{BC6CF3F0-B8ED-5DB7-0746-03965B370AE5}" name="Louise Morgan" initials="LM" userId="S::louise@theodigogroup.com::f3afb773-4931-4b67-8a9f-eef20a768a93" providerId="AD"/>
  <p188:author id="{E01801F9-EC84-843F-DDA3-5B0457DF3F26}" name="Reamonn Stynes" initials="" userId="S::restynes@microsoft.com::018d4f0e-4d83-491e-a225-fa06509ca0f2" providerId="AD"/>
  <p188:author id="{D16FA4FC-7EB5-3576-422F-5F849579F02F}" name="Sydney Ackerman (Mulcahy Consulting Inc)" initials="SA" userId="S::v-syackerman@microsoft.com::19537266-43a7-47bd-ad6c-9608d4e35a7a"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541CC"/>
    <a:srgbClr val="000000"/>
    <a:srgbClr val="E6E6E6"/>
    <a:srgbClr val="313131"/>
    <a:srgbClr val="2A446F"/>
    <a:srgbClr val="FEA874"/>
    <a:srgbClr val="2DB4FF"/>
    <a:srgbClr val="152A38"/>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EB344D84-9AFB-497E-A393-DC336BA19D2E}" styleName="Medium Style 3 - Accent 3">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3"/>
          </a:solidFill>
        </a:fill>
      </a:tcStyle>
    </a:lastCol>
    <a:firstCol>
      <a:tcTxStyle b="on">
        <a:fontRef idx="minor">
          <a:scrgbClr r="0" g="0" b="0"/>
        </a:fontRef>
        <a:schemeClr val="lt1"/>
      </a:tcTxStyle>
      <a:tcStyle>
        <a:tcBdr/>
        <a:fill>
          <a:solidFill>
            <a:schemeClr val="accent3"/>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3"/>
          </a:solidFill>
        </a:fill>
      </a:tcStyle>
    </a:firstRow>
  </a:tblStyle>
  <a:tblStyle styleId="{8799B23B-EC83-4686-B30A-512413B5E67A}" styleName="Light Style 3 - Accent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 styleId="{8EC20E35-A176-4012-BC5E-935CFFF8708E}" styleName="Medium Styl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74" d="100"/>
          <a:sy n="74" d="100"/>
        </p:scale>
        <p:origin x="36" y="540"/>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tags" Target="tags/tag1.xml"/><Relationship Id="rId3" Type="http://schemas.openxmlformats.org/officeDocument/2006/relationships/customXml" Target="../customXml/item3.xml"/><Relationship Id="rId21" Type="http://schemas.openxmlformats.org/officeDocument/2006/relationships/theme" Target="theme/theme1.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handoutMaster" Target="handoutMasters/handoutMaster1.xml"/><Relationship Id="rId2" Type="http://schemas.openxmlformats.org/officeDocument/2006/relationships/customXml" Target="../customXml/item2.xml"/><Relationship Id="rId16" Type="http://schemas.openxmlformats.org/officeDocument/2006/relationships/notesMaster" Target="notesMasters/notesMaster1.xml"/><Relationship Id="rId20"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5" Type="http://schemas.openxmlformats.org/officeDocument/2006/relationships/slideMaster" Target="slideMasters/slideMaster2.xml"/><Relationship Id="rId15" Type="http://schemas.openxmlformats.org/officeDocument/2006/relationships/slide" Target="slides/slide10.xml"/><Relationship Id="rId23" Type="http://schemas.microsoft.com/office/2018/10/relationships/authors" Target="authors.xml"/><Relationship Id="rId10" Type="http://schemas.openxmlformats.org/officeDocument/2006/relationships/slide" Target="slides/slide5.xml"/><Relationship Id="rId19"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tableStyles" Target="tableStyle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86E62D67-21B7-C36B-1131-8066E0E99ED4}"/>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A17FC0B3-5352-58D8-A83C-4AE888D34135}"/>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F94C92-970F-4CE9-BED7-0AD0CD42FBF6}" type="datetimeFigureOut">
              <a:rPr lang="en-US" smtClean="0"/>
              <a:t>5/29/2026</a:t>
            </a:fld>
            <a:endParaRPr lang="en-US"/>
          </a:p>
        </p:txBody>
      </p:sp>
      <p:sp>
        <p:nvSpPr>
          <p:cNvPr id="4" name="Footer Placeholder 3">
            <a:extLst>
              <a:ext uri="{FF2B5EF4-FFF2-40B4-BE49-F238E27FC236}">
                <a16:creationId xmlns:a16="http://schemas.microsoft.com/office/drawing/2014/main" id="{E35829F1-ADA2-535A-8219-4A1CBB62EB63}"/>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CF30B519-0615-0606-82F6-CC4ACA8C920F}"/>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EA18B0CB-C2CC-4D98-B48F-C7B883BDF8F3}" type="slidenum">
              <a:rPr lang="en-US" smtClean="0"/>
              <a:t>‹#›</a:t>
            </a:fld>
            <a:endParaRPr lang="en-US"/>
          </a:p>
        </p:txBody>
      </p:sp>
    </p:spTree>
    <p:extLst>
      <p:ext uri="{BB962C8B-B14F-4D97-AF65-F5344CB8AC3E}">
        <p14:creationId xmlns:p14="http://schemas.microsoft.com/office/powerpoint/2010/main" val="445383501"/>
      </p:ext>
    </p:extLst>
  </p:cSld>
  <p:clrMap bg1="lt1" tx1="dk1" bg2="lt2" tx2="dk2" accent1="accent1" accent2="accent2" accent3="accent3" accent4="accent4" accent5="accent5" accent6="accent6" hlink="hlink" folHlink="folHlink"/>
  <p:extLst>
    <p:ext uri="{56416CCD-93CA-4268-BC5B-53C4BB910035}">
      <p15:sldGuideLst xmlns:p15="http://schemas.microsoft.com/office/powerpoint/2012/main">
        <p15:guide id="1" orient="horz" pos="2880" userDrawn="1">
          <p15:clr>
            <a:srgbClr val="F26B43"/>
          </p15:clr>
        </p15:guide>
        <p15:guide id="2" pos="2160" userDrawn="1">
          <p15:clr>
            <a:srgbClr val="F26B43"/>
          </p15:clr>
        </p15:guide>
      </p15:sldGuideLst>
    </p:ext>
  </p:extLst>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79409CC4-E296-4139-BF30-DF6AE28F24B8}" type="datetimeFigureOut">
              <a:rPr lang="en-GB" smtClean="0"/>
              <a:t>29/05/2026</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3416CC2-86DA-43DA-AE05-04363E303DDB}" type="slidenum">
              <a:rPr lang="en-GB" smtClean="0"/>
              <a:t>‹#›</a:t>
            </a:fld>
            <a:endParaRPr lang="en-GB"/>
          </a:p>
        </p:txBody>
      </p:sp>
    </p:spTree>
    <p:extLst>
      <p:ext uri="{BB962C8B-B14F-4D97-AF65-F5344CB8AC3E}">
        <p14:creationId xmlns:p14="http://schemas.microsoft.com/office/powerpoint/2010/main" val="200652635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a:p>
        </p:txBody>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787DFCE-1CE0-4960-AAE4-D43DC35C5B3C}" type="slidenum">
              <a:rPr kumimoji="0" lang="en-GB"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GB"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30422078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60D1CF-90AD-70EA-7039-E926E73743E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9661EAF-1C47-60FC-07BD-1C9594E0CC5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4D1B6DE-C75C-C3F4-A56E-CD6F6E3A5BA5}"/>
              </a:ext>
            </a:extLst>
          </p:cNvPr>
          <p:cNvSpPr>
            <a:spLocks noGrp="1"/>
          </p:cNvSpPr>
          <p:nvPr>
            <p:ph type="body" idx="1"/>
          </p:nvPr>
        </p:nvSpPr>
        <p:spPr/>
        <p:txBody>
          <a:bodyPr/>
          <a:lstStyle/>
          <a:p>
            <a:endParaRPr lang="en-GB"/>
          </a:p>
        </p:txBody>
      </p:sp>
      <p:sp>
        <p:nvSpPr>
          <p:cNvPr id="4" name="Header Placeholder 3">
            <a:extLst>
              <a:ext uri="{FF2B5EF4-FFF2-40B4-BE49-F238E27FC236}">
                <a16:creationId xmlns:a16="http://schemas.microsoft.com/office/drawing/2014/main" id="{9F6919B1-3336-4FDE-7315-88349F638028}"/>
              </a:ext>
            </a:extLst>
          </p:cNvPr>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6" name="Date Placeholder 5">
            <a:extLst>
              <a:ext uri="{FF2B5EF4-FFF2-40B4-BE49-F238E27FC236}">
                <a16:creationId xmlns:a16="http://schemas.microsoft.com/office/drawing/2014/main" id="{1CD9112A-BF16-01DF-9D3C-DF894458C142}"/>
              </a:ext>
            </a:extLst>
          </p:cNvPr>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29/2026 9:39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a:extLst>
              <a:ext uri="{FF2B5EF4-FFF2-40B4-BE49-F238E27FC236}">
                <a16:creationId xmlns:a16="http://schemas.microsoft.com/office/drawing/2014/main" id="{2FDB94DC-7B3D-6729-177E-FA8D2B96A0B1}"/>
              </a:ext>
            </a:extLst>
          </p:cNvPr>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41666185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C4D1DCF-3B73-7C8C-AA55-09A4400F704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9E4CFC6-5448-2FCC-F6CD-070DE703AE2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235147E-DB14-ED3C-A1E8-6022B0F90890}"/>
              </a:ext>
            </a:extLst>
          </p:cNvPr>
          <p:cNvSpPr>
            <a:spLocks noGrp="1"/>
          </p:cNvSpPr>
          <p:nvPr>
            <p:ph type="body" idx="1"/>
          </p:nvPr>
        </p:nvSpPr>
        <p:spPr/>
        <p:txBody>
          <a:bodyPr/>
          <a:lstStyle/>
          <a:p>
            <a:endParaRPr lang="en-GB"/>
          </a:p>
        </p:txBody>
      </p:sp>
      <p:sp>
        <p:nvSpPr>
          <p:cNvPr id="4" name="Header Placeholder 3">
            <a:extLst>
              <a:ext uri="{FF2B5EF4-FFF2-40B4-BE49-F238E27FC236}">
                <a16:creationId xmlns:a16="http://schemas.microsoft.com/office/drawing/2014/main" id="{4A0FA2C5-8604-7697-D86E-3AB2979F743D}"/>
              </a:ext>
            </a:extLst>
          </p:cNvPr>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6" name="Date Placeholder 5">
            <a:extLst>
              <a:ext uri="{FF2B5EF4-FFF2-40B4-BE49-F238E27FC236}">
                <a16:creationId xmlns:a16="http://schemas.microsoft.com/office/drawing/2014/main" id="{9EA84BCE-5AEF-37AD-B001-CED10F084D7C}"/>
              </a:ext>
            </a:extLst>
          </p:cNvPr>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29/2026 9:39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a:extLst>
              <a:ext uri="{FF2B5EF4-FFF2-40B4-BE49-F238E27FC236}">
                <a16:creationId xmlns:a16="http://schemas.microsoft.com/office/drawing/2014/main" id="{B49F74E6-37FC-B5D7-B0A4-AF7A2461EF0A}"/>
              </a:ext>
            </a:extLst>
          </p:cNvPr>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57408711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29/2026 9:39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79433822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3416CC2-86DA-43DA-AE05-04363E303DDB}" type="slidenum">
              <a:rPr kumimoji="0" lang="en-GB"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GB"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76138470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7DE668F-C70A-63A0-48D6-1A39A409BAC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10D52CE-1E40-57A4-0024-79B85D41BA5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1705BC5-D455-2264-C9FE-74E1A4603633}"/>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ECDFEA66-8C52-76F8-DF90-0B12C28278C5}"/>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3416CC2-86DA-43DA-AE05-04363E303DDB}" type="slidenum">
              <a:rPr kumimoji="0" lang="en-GB"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GB"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15612571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E7424F-2160-DC84-E808-F295BB231C4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9AFCD86-EF3B-01C5-9C51-37ECDD97B1F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757C7AD-C964-EAE1-9E87-B212D505F6A1}"/>
              </a:ext>
            </a:extLst>
          </p:cNvPr>
          <p:cNvSpPr>
            <a:spLocks noGrp="1"/>
          </p:cNvSpPr>
          <p:nvPr>
            <p:ph type="body" idx="1"/>
          </p:nvPr>
        </p:nvSpPr>
        <p:spPr/>
        <p:txBody>
          <a:bodyPr/>
          <a:lstStyle/>
          <a:p>
            <a:endParaRPr lang="en-GB"/>
          </a:p>
        </p:txBody>
      </p:sp>
      <p:sp>
        <p:nvSpPr>
          <p:cNvPr id="4" name="Header Placeholder 3">
            <a:extLst>
              <a:ext uri="{FF2B5EF4-FFF2-40B4-BE49-F238E27FC236}">
                <a16:creationId xmlns:a16="http://schemas.microsoft.com/office/drawing/2014/main" id="{4F030D5C-24D1-B5F4-9B49-54DB00048A0B}"/>
              </a:ext>
            </a:extLst>
          </p:cNvPr>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6" name="Date Placeholder 5">
            <a:extLst>
              <a:ext uri="{FF2B5EF4-FFF2-40B4-BE49-F238E27FC236}">
                <a16:creationId xmlns:a16="http://schemas.microsoft.com/office/drawing/2014/main" id="{B9893BF3-A6B6-7F74-5D4B-96AD4989DB6C}"/>
              </a:ext>
            </a:extLst>
          </p:cNvPr>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29/2026 9:39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a:extLst>
              <a:ext uri="{FF2B5EF4-FFF2-40B4-BE49-F238E27FC236}">
                <a16:creationId xmlns:a16="http://schemas.microsoft.com/office/drawing/2014/main" id="{56872C2A-BEF4-F676-6A99-A6C2AF6C1AE5}"/>
              </a:ext>
            </a:extLst>
          </p:cNvPr>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69792418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08C761E-740A-0231-679A-B2752D21A3C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C06DAF5-909A-7638-FD89-052D9805DF5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6919AB1-16C7-4C02-ACF6-E38978278230}"/>
              </a:ext>
            </a:extLst>
          </p:cNvPr>
          <p:cNvSpPr>
            <a:spLocks noGrp="1"/>
          </p:cNvSpPr>
          <p:nvPr>
            <p:ph type="body" idx="1"/>
          </p:nvPr>
        </p:nvSpPr>
        <p:spPr/>
        <p:txBody>
          <a:bodyPr/>
          <a:lstStyle/>
          <a:p>
            <a:endParaRPr lang="en-GB"/>
          </a:p>
        </p:txBody>
      </p:sp>
      <p:sp>
        <p:nvSpPr>
          <p:cNvPr id="4" name="Header Placeholder 3">
            <a:extLst>
              <a:ext uri="{FF2B5EF4-FFF2-40B4-BE49-F238E27FC236}">
                <a16:creationId xmlns:a16="http://schemas.microsoft.com/office/drawing/2014/main" id="{1E5F3C1E-0EDC-AA2E-C992-115E32EFB0FF}"/>
              </a:ext>
            </a:extLst>
          </p:cNvPr>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6" name="Date Placeholder 5">
            <a:extLst>
              <a:ext uri="{FF2B5EF4-FFF2-40B4-BE49-F238E27FC236}">
                <a16:creationId xmlns:a16="http://schemas.microsoft.com/office/drawing/2014/main" id="{1F81C646-EF94-4A51-603F-46F8A6122D61}"/>
              </a:ext>
            </a:extLst>
          </p:cNvPr>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29/2026 9:39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a:extLst>
              <a:ext uri="{FF2B5EF4-FFF2-40B4-BE49-F238E27FC236}">
                <a16:creationId xmlns:a16="http://schemas.microsoft.com/office/drawing/2014/main" id="{214051F7-4E9F-5196-60AF-BB9D1F32ED82}"/>
              </a:ext>
            </a:extLst>
          </p:cNvPr>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55783399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2A6E9EA-3B77-319B-4D8B-04963D4B916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5CFA57C-C6FD-4BFE-9CC9-4A748134B7A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6F4485C-CD77-66CA-B614-514033DC490C}"/>
              </a:ext>
            </a:extLst>
          </p:cNvPr>
          <p:cNvSpPr>
            <a:spLocks noGrp="1"/>
          </p:cNvSpPr>
          <p:nvPr>
            <p:ph type="body" idx="1"/>
          </p:nvPr>
        </p:nvSpPr>
        <p:spPr/>
        <p:txBody>
          <a:bodyPr/>
          <a:lstStyle/>
          <a:p>
            <a:endParaRPr lang="en-GB"/>
          </a:p>
        </p:txBody>
      </p:sp>
      <p:sp>
        <p:nvSpPr>
          <p:cNvPr id="4" name="Header Placeholder 3">
            <a:extLst>
              <a:ext uri="{FF2B5EF4-FFF2-40B4-BE49-F238E27FC236}">
                <a16:creationId xmlns:a16="http://schemas.microsoft.com/office/drawing/2014/main" id="{502DC071-8950-D597-2E3A-4AC5478ABD79}"/>
              </a:ext>
            </a:extLst>
          </p:cNvPr>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6" name="Date Placeholder 5">
            <a:extLst>
              <a:ext uri="{FF2B5EF4-FFF2-40B4-BE49-F238E27FC236}">
                <a16:creationId xmlns:a16="http://schemas.microsoft.com/office/drawing/2014/main" id="{7C5C5040-A649-E9B3-532E-2CC03E5BEFEF}"/>
              </a:ext>
            </a:extLst>
          </p:cNvPr>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29/2026 9:39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a:extLst>
              <a:ext uri="{FF2B5EF4-FFF2-40B4-BE49-F238E27FC236}">
                <a16:creationId xmlns:a16="http://schemas.microsoft.com/office/drawing/2014/main" id="{DB7C3176-257B-E7B7-5DAD-AA136B1530BE}"/>
              </a:ext>
            </a:extLst>
          </p:cNvPr>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76233917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F23754-2712-BE79-D697-17072D703C4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5520996-E153-1D41-ADAE-534E507DF67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F110E71-D230-DD56-AF63-35EDDD0913F7}"/>
              </a:ext>
            </a:extLst>
          </p:cNvPr>
          <p:cNvSpPr>
            <a:spLocks noGrp="1"/>
          </p:cNvSpPr>
          <p:nvPr>
            <p:ph type="body" idx="1"/>
          </p:nvPr>
        </p:nvSpPr>
        <p:spPr/>
        <p:txBody>
          <a:bodyPr/>
          <a:lstStyle/>
          <a:p>
            <a:endParaRPr lang="en-GB"/>
          </a:p>
        </p:txBody>
      </p:sp>
      <p:sp>
        <p:nvSpPr>
          <p:cNvPr id="4" name="Header Placeholder 3">
            <a:extLst>
              <a:ext uri="{FF2B5EF4-FFF2-40B4-BE49-F238E27FC236}">
                <a16:creationId xmlns:a16="http://schemas.microsoft.com/office/drawing/2014/main" id="{27DE95EF-28F2-3DE1-882F-7846A6B496EE}"/>
              </a:ext>
            </a:extLst>
          </p:cNvPr>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6" name="Date Placeholder 5">
            <a:extLst>
              <a:ext uri="{FF2B5EF4-FFF2-40B4-BE49-F238E27FC236}">
                <a16:creationId xmlns:a16="http://schemas.microsoft.com/office/drawing/2014/main" id="{9370E0F0-8D81-F145-46CE-7DFD04D79A1D}"/>
              </a:ext>
            </a:extLst>
          </p:cNvPr>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29/2026 9:39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a:extLst>
              <a:ext uri="{FF2B5EF4-FFF2-40B4-BE49-F238E27FC236}">
                <a16:creationId xmlns:a16="http://schemas.microsoft.com/office/drawing/2014/main" id="{449D9C3B-E8E4-4045-9033-C38B91A7D161}"/>
              </a:ext>
            </a:extLst>
          </p:cNvPr>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08012853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2.xml"/><Relationship Id="rId4" Type="http://schemas.openxmlformats.org/officeDocument/2006/relationships/image" Target="../media/image4.svg"/></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Cover – B">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9" name="Picture 8" descr="A close-up of a computer screen&#10;&#10;AI-generated content may be incorrect.">
            <a:extLst>
              <a:ext uri="{FF2B5EF4-FFF2-40B4-BE49-F238E27FC236}">
                <a16:creationId xmlns:a16="http://schemas.microsoft.com/office/drawing/2014/main" id="{866A7BFF-99CD-9437-E86E-6132FB309B13}"/>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2248929" y="251769"/>
            <a:ext cx="9943071" cy="6435726"/>
          </a:xfrm>
          <a:prstGeom prst="rect">
            <a:avLst/>
          </a:prstGeom>
        </p:spPr>
      </p:pic>
      <p:sp>
        <p:nvSpPr>
          <p:cNvPr id="12" name="Text Placeholder 11">
            <a:extLst>
              <a:ext uri="{FF2B5EF4-FFF2-40B4-BE49-F238E27FC236}">
                <a16:creationId xmlns:a16="http://schemas.microsoft.com/office/drawing/2014/main" id="{28D7EFAF-A949-3F40-B6CE-D7D12634BD3D}"/>
              </a:ext>
            </a:extLst>
          </p:cNvPr>
          <p:cNvSpPr>
            <a:spLocks noGrp="1"/>
          </p:cNvSpPr>
          <p:nvPr>
            <p:ph type="body" sz="quarter" idx="11" hasCustomPrompt="1"/>
          </p:nvPr>
        </p:nvSpPr>
        <p:spPr>
          <a:xfrm>
            <a:off x="527356" y="2132919"/>
            <a:ext cx="6002494" cy="1128514"/>
          </a:xfrm>
        </p:spPr>
        <p:txBody>
          <a:bodyPr wrap="square" lIns="0" tIns="0" rIns="0" bIns="0" anchor="b" anchorCtr="0">
            <a:spAutoFit/>
          </a:bodyPr>
          <a:lstStyle>
            <a:lvl1pPr marL="0" indent="0">
              <a:lnSpc>
                <a:spcPts val="4400"/>
              </a:lnSpc>
              <a:buNone/>
              <a:defRPr sz="4200" b="0" i="0" spc="-50" baseline="0">
                <a:gradFill>
                  <a:gsLst>
                    <a:gs pos="39000">
                      <a:srgbClr val="712360"/>
                    </a:gs>
                    <a:gs pos="51000">
                      <a:srgbClr val="963E08"/>
                    </a:gs>
                    <a:gs pos="63000">
                      <a:srgbClr val="712360"/>
                    </a:gs>
                  </a:gsLst>
                  <a:path path="circle">
                    <a:fillToRect l="100000" t="100000"/>
                  </a:path>
                </a:gradFill>
                <a:latin typeface="+mj-lt"/>
                <a:cs typeface="Segoe UI Semibold" panose="020B0502040204020203" pitchFamily="34" charset="0"/>
              </a:defRPr>
            </a:lvl1pPr>
          </a:lstStyle>
          <a:p>
            <a:pPr lvl="0"/>
            <a:r>
              <a:rPr lang="en-US"/>
              <a:t>Secure AI-Driven Productivity Bootcamp</a:t>
            </a:r>
          </a:p>
        </p:txBody>
      </p:sp>
      <p:pic>
        <p:nvPicPr>
          <p:cNvPr id="5" name="Picture 1">
            <a:extLst>
              <a:ext uri="{FF2B5EF4-FFF2-40B4-BE49-F238E27FC236}">
                <a16:creationId xmlns:a16="http://schemas.microsoft.com/office/drawing/2014/main" id="{8ECF730F-DA45-E656-902E-8D743973E8A8}"/>
              </a:ext>
            </a:extLst>
          </p:cNvPr>
          <p:cNvPicPr>
            <a:picLocks noChangeAspect="1"/>
          </p:cNvPicPr>
          <p:nvPr userDrawn="1"/>
        </p:nvPicPr>
        <p:blipFill>
          <a:blip>
            <a:extLst>
              <a:ext uri="{96DAC541-7B7A-43D3-8B79-37D633B846F1}">
                <asvg:svgBlip xmlns:asvg="http://schemas.microsoft.com/office/drawing/2016/SVG/main" r:embed="rId4"/>
              </a:ext>
            </a:extLst>
          </a:blip>
          <a:srcRect/>
          <a:stretch/>
        </p:blipFill>
        <p:spPr bwMode="black">
          <a:xfrm>
            <a:off x="527356" y="532612"/>
            <a:ext cx="1065600" cy="228343"/>
          </a:xfrm>
          <a:prstGeom prst="rect">
            <a:avLst/>
          </a:prstGeom>
        </p:spPr>
      </p:pic>
      <p:sp>
        <p:nvSpPr>
          <p:cNvPr id="7" name="Text Placeholder 6">
            <a:extLst>
              <a:ext uri="{FF2B5EF4-FFF2-40B4-BE49-F238E27FC236}">
                <a16:creationId xmlns:a16="http://schemas.microsoft.com/office/drawing/2014/main" id="{964F4844-97A6-4080-5544-13E46E7F4830}"/>
              </a:ext>
            </a:extLst>
          </p:cNvPr>
          <p:cNvSpPr>
            <a:spLocks noGrp="1"/>
          </p:cNvSpPr>
          <p:nvPr>
            <p:ph type="body" sz="quarter" idx="12" hasCustomPrompt="1"/>
          </p:nvPr>
        </p:nvSpPr>
        <p:spPr>
          <a:xfrm>
            <a:off x="527356" y="3701143"/>
            <a:ext cx="4018471" cy="839921"/>
          </a:xfrm>
          <a:prstGeom prst="rect">
            <a:avLst/>
          </a:prstGeom>
          <a:noFill/>
          <a:ln w="12700">
            <a:noFill/>
          </a:ln>
        </p:spPr>
        <p:txBody>
          <a:bodyPr lIns="0" tIns="0" rIns="0" bIns="0" anchor="ctr"/>
          <a:lstStyle>
            <a:lvl1pPr marL="0" indent="0" algn="l">
              <a:spcBef>
                <a:spcPts val="0"/>
              </a:spcBef>
              <a:buNone/>
              <a:defRPr sz="1800">
                <a:gradFill>
                  <a:gsLst>
                    <a:gs pos="39000">
                      <a:srgbClr val="712360"/>
                    </a:gs>
                    <a:gs pos="51000">
                      <a:srgbClr val="963E08"/>
                    </a:gs>
                    <a:gs pos="63000">
                      <a:srgbClr val="712360"/>
                    </a:gs>
                  </a:gsLst>
                  <a:path path="circle">
                    <a:fillToRect l="100000" t="100000"/>
                  </a:path>
                </a:gradFill>
                <a:latin typeface="+mj-lt"/>
              </a:defRPr>
            </a:lvl1pPr>
          </a:lstStyle>
          <a:p>
            <a:pPr lvl="0"/>
            <a:r>
              <a:rPr lang="en-GB"/>
              <a:t>Speaker 1</a:t>
            </a:r>
          </a:p>
          <a:p>
            <a:pPr lvl="0"/>
            <a:r>
              <a:rPr lang="en-GB"/>
              <a:t>Title 1</a:t>
            </a:r>
            <a:endParaRPr lang="en-US"/>
          </a:p>
        </p:txBody>
      </p:sp>
    </p:spTree>
    <p:extLst>
      <p:ext uri="{BB962C8B-B14F-4D97-AF65-F5344CB8AC3E}">
        <p14:creationId xmlns:p14="http://schemas.microsoft.com/office/powerpoint/2010/main" val="73348355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userDrawn="1">
  <p:cSld name="Cover – B">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9" name="Picture 8" descr="A close-up of a computer screen&#10;&#10;AI-generated content may be incorrect.">
            <a:extLst>
              <a:ext uri="{FF2B5EF4-FFF2-40B4-BE49-F238E27FC236}">
                <a16:creationId xmlns:a16="http://schemas.microsoft.com/office/drawing/2014/main" id="{866A7BFF-99CD-9437-E86E-6132FB309B13}"/>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2248929" y="251769"/>
            <a:ext cx="9943071" cy="6435726"/>
          </a:xfrm>
          <a:prstGeom prst="rect">
            <a:avLst/>
          </a:prstGeom>
        </p:spPr>
      </p:pic>
      <p:sp>
        <p:nvSpPr>
          <p:cNvPr id="12" name="Text Placeholder 11">
            <a:extLst>
              <a:ext uri="{FF2B5EF4-FFF2-40B4-BE49-F238E27FC236}">
                <a16:creationId xmlns:a16="http://schemas.microsoft.com/office/drawing/2014/main" id="{28D7EFAF-A949-3F40-B6CE-D7D12634BD3D}"/>
              </a:ext>
            </a:extLst>
          </p:cNvPr>
          <p:cNvSpPr>
            <a:spLocks noGrp="1"/>
          </p:cNvSpPr>
          <p:nvPr>
            <p:ph type="body" sz="quarter" idx="11" hasCustomPrompt="1"/>
          </p:nvPr>
        </p:nvSpPr>
        <p:spPr>
          <a:xfrm>
            <a:off x="527356" y="2291473"/>
            <a:ext cx="4018471" cy="1692771"/>
          </a:xfrm>
        </p:spPr>
        <p:txBody>
          <a:bodyPr wrap="square" lIns="0" tIns="0" rIns="0" bIns="0" anchor="b" anchorCtr="0">
            <a:spAutoFit/>
          </a:bodyPr>
          <a:lstStyle>
            <a:lvl1pPr marL="0" indent="0">
              <a:lnSpc>
                <a:spcPts val="4400"/>
              </a:lnSpc>
              <a:buNone/>
              <a:defRPr lang="en-US" sz="4200" b="0" i="0" kern="1200" spc="-50" baseline="0" dirty="0">
                <a:gradFill>
                  <a:gsLst>
                    <a:gs pos="39000">
                      <a:srgbClr val="712360"/>
                    </a:gs>
                    <a:gs pos="51000">
                      <a:srgbClr val="963E08"/>
                    </a:gs>
                    <a:gs pos="63000">
                      <a:srgbClr val="712360"/>
                    </a:gs>
                  </a:gsLst>
                  <a:path path="circle">
                    <a:fillToRect l="100000" t="100000"/>
                  </a:path>
                </a:gradFill>
                <a:latin typeface="+mj-lt"/>
                <a:ea typeface="+mn-ea"/>
                <a:cs typeface="Segoe UI Semibold" panose="020B0502040204020203" pitchFamily="34" charset="0"/>
              </a:defRPr>
            </a:lvl1pPr>
          </a:lstStyle>
          <a:p>
            <a:pPr marL="0" lvl="0" indent="0" algn="l" defTabSz="914400" rtl="0" eaLnBrk="1" latinLnBrk="0" hangingPunct="1">
              <a:lnSpc>
                <a:spcPts val="4400"/>
              </a:lnSpc>
              <a:spcBef>
                <a:spcPts val="1000"/>
              </a:spcBef>
              <a:buFont typeface="Arial" panose="020B0604020202020204" pitchFamily="34" charset="0"/>
              <a:buNone/>
            </a:pPr>
            <a:r>
              <a:rPr lang="en-US"/>
              <a:t>Secure AI-Driven Productivity Bootcamp</a:t>
            </a:r>
          </a:p>
        </p:txBody>
      </p:sp>
      <p:pic>
        <p:nvPicPr>
          <p:cNvPr id="5" name="Picture 1">
            <a:extLst>
              <a:ext uri="{FF2B5EF4-FFF2-40B4-BE49-F238E27FC236}">
                <a16:creationId xmlns:a16="http://schemas.microsoft.com/office/drawing/2014/main" id="{8ECF730F-DA45-E656-902E-8D743973E8A8}"/>
              </a:ext>
            </a:extLst>
          </p:cNvPr>
          <p:cNvPicPr>
            <a:picLocks noChangeAspect="1"/>
          </p:cNvPicPr>
          <p:nvPr userDrawn="1"/>
        </p:nvPicPr>
        <p:blipFill>
          <a:blip>
            <a:extLst>
              <a:ext uri="{96DAC541-7B7A-43D3-8B79-37D633B846F1}">
                <asvg:svgBlip xmlns:asvg="http://schemas.microsoft.com/office/drawing/2016/SVG/main" r:embed="rId4"/>
              </a:ext>
            </a:extLst>
          </a:blip>
          <a:srcRect/>
          <a:stretch/>
        </p:blipFill>
        <p:spPr bwMode="black">
          <a:xfrm>
            <a:off x="527356" y="532612"/>
            <a:ext cx="1065600" cy="228343"/>
          </a:xfrm>
          <a:prstGeom prst="rect">
            <a:avLst/>
          </a:prstGeom>
        </p:spPr>
      </p:pic>
      <p:sp>
        <p:nvSpPr>
          <p:cNvPr id="7" name="Text Placeholder 6">
            <a:extLst>
              <a:ext uri="{FF2B5EF4-FFF2-40B4-BE49-F238E27FC236}">
                <a16:creationId xmlns:a16="http://schemas.microsoft.com/office/drawing/2014/main" id="{964F4844-97A6-4080-5544-13E46E7F4830}"/>
              </a:ext>
            </a:extLst>
          </p:cNvPr>
          <p:cNvSpPr>
            <a:spLocks noGrp="1"/>
          </p:cNvSpPr>
          <p:nvPr>
            <p:ph type="body" sz="quarter" idx="12" hasCustomPrompt="1"/>
          </p:nvPr>
        </p:nvSpPr>
        <p:spPr>
          <a:xfrm>
            <a:off x="527356" y="4362403"/>
            <a:ext cx="4018471" cy="276999"/>
          </a:xfrm>
          <a:prstGeom prst="rect">
            <a:avLst/>
          </a:prstGeom>
          <a:noFill/>
          <a:ln w="12700">
            <a:noFill/>
          </a:ln>
        </p:spPr>
        <p:txBody>
          <a:bodyPr lIns="0" tIns="0" rIns="0" bIns="0" anchor="ctr"/>
          <a:lstStyle>
            <a:lvl1pPr marL="0" indent="0" algn="l">
              <a:buNone/>
              <a:defRPr lang="en-US" sz="1800" kern="1200" dirty="0">
                <a:gradFill>
                  <a:gsLst>
                    <a:gs pos="39000">
                      <a:srgbClr val="712360"/>
                    </a:gs>
                    <a:gs pos="51000">
                      <a:srgbClr val="963E08"/>
                    </a:gs>
                    <a:gs pos="63000">
                      <a:srgbClr val="712360"/>
                    </a:gs>
                  </a:gsLst>
                  <a:path path="circle">
                    <a:fillToRect l="100000" t="100000"/>
                  </a:path>
                </a:gradFill>
                <a:latin typeface="+mj-lt"/>
                <a:ea typeface="+mn-ea"/>
                <a:cs typeface="+mn-cs"/>
              </a:defRPr>
            </a:lvl1pPr>
          </a:lstStyle>
          <a:p>
            <a:pPr marL="0" lvl="0" indent="0" algn="l" defTabSz="914400" rtl="0" eaLnBrk="1" latinLnBrk="0" hangingPunct="1">
              <a:lnSpc>
                <a:spcPct val="90000"/>
              </a:lnSpc>
              <a:spcBef>
                <a:spcPts val="0"/>
              </a:spcBef>
              <a:buFont typeface="Arial" panose="020B0604020202020204" pitchFamily="34" charset="0"/>
              <a:buNone/>
            </a:pPr>
            <a:r>
              <a:rPr lang="en-GB"/>
              <a:t>Date</a:t>
            </a:r>
            <a:endParaRPr lang="en-US"/>
          </a:p>
        </p:txBody>
      </p:sp>
    </p:spTree>
    <p:extLst>
      <p:ext uri="{BB962C8B-B14F-4D97-AF65-F5344CB8AC3E}">
        <p14:creationId xmlns:p14="http://schemas.microsoft.com/office/powerpoint/2010/main" val="49516211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851541074"/>
      </p:ext>
    </p:extLst>
  </p:cSld>
  <p:clrMapOvr>
    <a:masterClrMapping/>
  </p:clrMapOvr>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60">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Cover – B">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9" name="Picture 8" descr="A close-up of a computer screen&#10;&#10;AI-generated content may be incorrect.">
            <a:extLst>
              <a:ext uri="{FF2B5EF4-FFF2-40B4-BE49-F238E27FC236}">
                <a16:creationId xmlns:a16="http://schemas.microsoft.com/office/drawing/2014/main" id="{866A7BFF-99CD-9437-E86E-6132FB309B13}"/>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2248929" y="251769"/>
            <a:ext cx="9943071" cy="6435726"/>
          </a:xfrm>
          <a:prstGeom prst="rect">
            <a:avLst/>
          </a:prstGeom>
        </p:spPr>
      </p:pic>
      <p:sp>
        <p:nvSpPr>
          <p:cNvPr id="12" name="Text Placeholder 11">
            <a:extLst>
              <a:ext uri="{FF2B5EF4-FFF2-40B4-BE49-F238E27FC236}">
                <a16:creationId xmlns:a16="http://schemas.microsoft.com/office/drawing/2014/main" id="{28D7EFAF-A949-3F40-B6CE-D7D12634BD3D}"/>
              </a:ext>
            </a:extLst>
          </p:cNvPr>
          <p:cNvSpPr>
            <a:spLocks noGrp="1"/>
          </p:cNvSpPr>
          <p:nvPr>
            <p:ph type="body" sz="quarter" idx="11" hasCustomPrompt="1"/>
          </p:nvPr>
        </p:nvSpPr>
        <p:spPr>
          <a:xfrm>
            <a:off x="527356" y="2132919"/>
            <a:ext cx="6002494" cy="1128514"/>
          </a:xfrm>
        </p:spPr>
        <p:txBody>
          <a:bodyPr wrap="square" lIns="0" tIns="0" rIns="0" bIns="0" anchor="b" anchorCtr="0">
            <a:spAutoFit/>
          </a:bodyPr>
          <a:lstStyle>
            <a:lvl1pPr marL="0" indent="0">
              <a:lnSpc>
                <a:spcPts val="4400"/>
              </a:lnSpc>
              <a:buNone/>
              <a:defRPr sz="4200" b="0" i="0" spc="-50" baseline="0">
                <a:gradFill>
                  <a:gsLst>
                    <a:gs pos="39000">
                      <a:srgbClr val="712360"/>
                    </a:gs>
                    <a:gs pos="51000">
                      <a:srgbClr val="963E08"/>
                    </a:gs>
                    <a:gs pos="63000">
                      <a:srgbClr val="712360"/>
                    </a:gs>
                  </a:gsLst>
                  <a:path path="circle">
                    <a:fillToRect l="100000" t="100000"/>
                  </a:path>
                </a:gradFill>
                <a:latin typeface="+mj-lt"/>
                <a:cs typeface="Segoe UI Semibold" panose="020B0502040204020203" pitchFamily="34" charset="0"/>
              </a:defRPr>
            </a:lvl1pPr>
          </a:lstStyle>
          <a:p>
            <a:pPr lvl="0"/>
            <a:r>
              <a:rPr lang="en-US"/>
              <a:t>Secure AI-Driven Productivity Bootcamp</a:t>
            </a:r>
          </a:p>
        </p:txBody>
      </p:sp>
      <p:pic>
        <p:nvPicPr>
          <p:cNvPr id="5" name="Picture 1">
            <a:extLst>
              <a:ext uri="{FF2B5EF4-FFF2-40B4-BE49-F238E27FC236}">
                <a16:creationId xmlns:a16="http://schemas.microsoft.com/office/drawing/2014/main" id="{8ECF730F-DA45-E656-902E-8D743973E8A8}"/>
              </a:ext>
            </a:extLst>
          </p:cNvPr>
          <p:cNvPicPr>
            <a:picLocks noChangeAspect="1"/>
          </p:cNvPicPr>
          <p:nvPr userDrawn="1"/>
        </p:nvPicPr>
        <p:blipFill>
          <a:blip>
            <a:extLst>
              <a:ext uri="{96DAC541-7B7A-43D3-8B79-37D633B846F1}">
                <asvg:svgBlip xmlns:asvg="http://schemas.microsoft.com/office/drawing/2016/SVG/main" r:embed="rId4"/>
              </a:ext>
            </a:extLst>
          </a:blip>
          <a:srcRect/>
          <a:stretch/>
        </p:blipFill>
        <p:spPr bwMode="black">
          <a:xfrm>
            <a:off x="527356" y="532612"/>
            <a:ext cx="1065600" cy="228343"/>
          </a:xfrm>
          <a:prstGeom prst="rect">
            <a:avLst/>
          </a:prstGeom>
        </p:spPr>
      </p:pic>
      <p:sp>
        <p:nvSpPr>
          <p:cNvPr id="7" name="Text Placeholder 6">
            <a:extLst>
              <a:ext uri="{FF2B5EF4-FFF2-40B4-BE49-F238E27FC236}">
                <a16:creationId xmlns:a16="http://schemas.microsoft.com/office/drawing/2014/main" id="{964F4844-97A6-4080-5544-13E46E7F4830}"/>
              </a:ext>
            </a:extLst>
          </p:cNvPr>
          <p:cNvSpPr>
            <a:spLocks noGrp="1"/>
          </p:cNvSpPr>
          <p:nvPr>
            <p:ph type="body" sz="quarter" idx="12" hasCustomPrompt="1"/>
          </p:nvPr>
        </p:nvSpPr>
        <p:spPr>
          <a:xfrm>
            <a:off x="527356" y="3701143"/>
            <a:ext cx="4018471" cy="839921"/>
          </a:xfrm>
          <a:prstGeom prst="rect">
            <a:avLst/>
          </a:prstGeom>
          <a:noFill/>
          <a:ln w="12700">
            <a:noFill/>
          </a:ln>
        </p:spPr>
        <p:txBody>
          <a:bodyPr lIns="0" tIns="0" rIns="0" bIns="0" anchor="ctr"/>
          <a:lstStyle>
            <a:lvl1pPr marL="0" indent="0" algn="l">
              <a:spcBef>
                <a:spcPts val="0"/>
              </a:spcBef>
              <a:buNone/>
              <a:defRPr sz="1800">
                <a:gradFill>
                  <a:gsLst>
                    <a:gs pos="39000">
                      <a:srgbClr val="712360"/>
                    </a:gs>
                    <a:gs pos="51000">
                      <a:srgbClr val="963E08"/>
                    </a:gs>
                    <a:gs pos="63000">
                      <a:srgbClr val="712360"/>
                    </a:gs>
                  </a:gsLst>
                  <a:path path="circle">
                    <a:fillToRect l="100000" t="100000"/>
                  </a:path>
                </a:gradFill>
                <a:latin typeface="+mj-lt"/>
              </a:defRPr>
            </a:lvl1pPr>
          </a:lstStyle>
          <a:p>
            <a:pPr lvl="0"/>
            <a:r>
              <a:rPr lang="en-GB"/>
              <a:t>Speaker 1</a:t>
            </a:r>
          </a:p>
          <a:p>
            <a:pPr lvl="0"/>
            <a:r>
              <a:rPr lang="en-GB"/>
              <a:t>Title 1</a:t>
            </a:r>
            <a:endParaRPr lang="en-US"/>
          </a:p>
        </p:txBody>
      </p:sp>
    </p:spTree>
    <p:extLst>
      <p:ext uri="{BB962C8B-B14F-4D97-AF65-F5344CB8AC3E}">
        <p14:creationId xmlns:p14="http://schemas.microsoft.com/office/powerpoint/2010/main" val="146639607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11628" y="574386"/>
            <a:ext cx="11185072" cy="498598"/>
          </a:xfrm>
        </p:spPr>
        <p:txBody>
          <a:bodyPr wrap="square" lIns="0" tIns="0" rIns="0" bIns="0" anchor="t">
            <a:spAutoFit/>
          </a:bodyPr>
          <a:lstStyle>
            <a:lvl1pPr>
              <a:defRPr sz="3600" b="0">
                <a:latin typeface="+mj-lt"/>
              </a:defRPr>
            </a:lvl1pPr>
          </a:lstStyle>
          <a:p>
            <a:r>
              <a:rPr lang="en-US"/>
              <a:t>Click to edit Master title style</a:t>
            </a:r>
          </a:p>
        </p:txBody>
      </p:sp>
    </p:spTree>
    <p:extLst>
      <p:ext uri="{BB962C8B-B14F-4D97-AF65-F5344CB8AC3E}">
        <p14:creationId xmlns:p14="http://schemas.microsoft.com/office/powerpoint/2010/main" val="3824911782"/>
      </p:ext>
    </p:extLst>
  </p:cSld>
  <p:clrMapOvr>
    <a:masterClrMapping/>
  </p:clrMapOvr>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176175603"/>
      </p:ext>
    </p:extLst>
  </p:cSld>
  <p:clrMapOvr>
    <a:masterClrMapping/>
  </p:clrMapOvr>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60">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image" Target="../media/image1.svg"/><Relationship Id="rId5" Type="http://schemas.openxmlformats.org/officeDocument/2006/relationships/tags" Target="../tags/tag2.xml"/><Relationship Id="rId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slideLayout" Target="../slideLayouts/slideLayout5.xml"/><Relationship Id="rId1" Type="http://schemas.openxmlformats.org/officeDocument/2006/relationships/slideLayout" Target="../slideLayouts/slideLayout4.xml"/><Relationship Id="rId6" Type="http://schemas.openxmlformats.org/officeDocument/2006/relationships/image" Target="../media/image1.svg"/><Relationship Id="rId5" Type="http://schemas.openxmlformats.org/officeDocument/2006/relationships/tags" Target="../tags/tag3.xml"/><Relationship Id="rId4" Type="http://schemas.openxmlformats.org/officeDocument/2006/relationships/theme" Target="../theme/theme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7CE70860-B881-5122-E137-8711CB0D6B02}"/>
              </a:ext>
            </a:extLst>
          </p:cNvPr>
          <p:cNvSpPr>
            <a:spLocks noGrp="1"/>
          </p:cNvSpPr>
          <p:nvPr>
            <p:ph type="title"/>
          </p:nvPr>
        </p:nvSpPr>
        <p:spPr>
          <a:xfrm>
            <a:off x="511175" y="574675"/>
            <a:ext cx="11185525" cy="609398"/>
          </a:xfrm>
          <a:prstGeom prst="rect">
            <a:avLst/>
          </a:prstGeom>
        </p:spPr>
        <p:txBody>
          <a:bodyPr vert="horz" lIns="0" tIns="0" rIns="0" bIns="0" rtlCol="0" anchor="t">
            <a:spAutoFit/>
          </a:bodyPr>
          <a:lstStyle/>
          <a:p>
            <a:r>
              <a:rPr lang="en-US"/>
              <a:t>Click to edit Master title style</a:t>
            </a:r>
          </a:p>
        </p:txBody>
      </p:sp>
      <p:sp>
        <p:nvSpPr>
          <p:cNvPr id="3" name="Text Placeholder 2">
            <a:extLst>
              <a:ext uri="{FF2B5EF4-FFF2-40B4-BE49-F238E27FC236}">
                <a16:creationId xmlns:a16="http://schemas.microsoft.com/office/drawing/2014/main" id="{E606F1A1-1586-42EF-9CA2-16F10CD83DF7}"/>
              </a:ext>
            </a:extLst>
          </p:cNvPr>
          <p:cNvSpPr>
            <a:spLocks noGrp="1"/>
          </p:cNvSpPr>
          <p:nvPr>
            <p:ph type="body" idx="1"/>
          </p:nvPr>
        </p:nvSpPr>
        <p:spPr>
          <a:xfrm>
            <a:off x="511175" y="1698625"/>
            <a:ext cx="11185525"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D253CED-08D6-692F-198E-233A1D7E915D}"/>
              </a:ext>
            </a:extLst>
          </p:cNvPr>
          <p:cNvSpPr>
            <a:spLocks noGrp="1"/>
          </p:cNvSpPr>
          <p:nvPr>
            <p:ph type="dt" sz="half" idx="2"/>
          </p:nvPr>
        </p:nvSpPr>
        <p:spPr>
          <a:xfrm>
            <a:off x="511175" y="6229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DC2E2A91-B98C-49DE-8553-119ECA58152C}" type="datetimeFigureOut">
              <a:rPr lang="en-US" smtClean="0"/>
              <a:t>5/29/2026</a:t>
            </a:fld>
            <a:endParaRPr lang="en-US"/>
          </a:p>
        </p:txBody>
      </p:sp>
      <p:sp>
        <p:nvSpPr>
          <p:cNvPr id="5" name="Footer Placeholder 4">
            <a:extLst>
              <a:ext uri="{FF2B5EF4-FFF2-40B4-BE49-F238E27FC236}">
                <a16:creationId xmlns:a16="http://schemas.microsoft.com/office/drawing/2014/main" id="{1110BB91-0DF2-F86D-A282-C050CAF65527}"/>
              </a:ext>
            </a:extLst>
          </p:cNvPr>
          <p:cNvSpPr>
            <a:spLocks noGrp="1"/>
          </p:cNvSpPr>
          <p:nvPr>
            <p:ph type="ftr" sz="quarter" idx="3"/>
          </p:nvPr>
        </p:nvSpPr>
        <p:spPr>
          <a:xfrm>
            <a:off x="4038600" y="6229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78227534-F4D4-095D-03EE-12A9688346D0}"/>
              </a:ext>
            </a:extLst>
          </p:cNvPr>
          <p:cNvSpPr>
            <a:spLocks noGrp="1"/>
          </p:cNvSpPr>
          <p:nvPr>
            <p:ph type="sldNum" sz="quarter" idx="4"/>
          </p:nvPr>
        </p:nvSpPr>
        <p:spPr>
          <a:xfrm>
            <a:off x="8953500" y="6229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67CA0B0-04EF-433A-8113-67BC344D39D3}" type="slidenum">
              <a:rPr lang="en-US" smtClean="0"/>
              <a:t>‹#›</a:t>
            </a:fld>
            <a:endParaRPr lang="en-US"/>
          </a:p>
        </p:txBody>
      </p:sp>
      <p:pic>
        <p:nvPicPr>
          <p:cNvPr id="7" name="Graphic 6">
            <a:extLst>
              <a:ext uri="{FF2B5EF4-FFF2-40B4-BE49-F238E27FC236}">
                <a16:creationId xmlns:a16="http://schemas.microsoft.com/office/drawing/2014/main" id="{3BAC4348-B8BB-E69B-E197-7B5B8B4EF1F3}"/>
              </a:ext>
            </a:extLst>
          </p:cNvPr>
          <p:cNvPicPr>
            <a:picLocks noChangeAspect="1"/>
          </p:cNvPicPr>
          <p:nvPr userDrawn="1"/>
        </p:nvPicPr>
        <p:blipFill>
          <a:blip>
            <a:extLst>
              <a:ext uri="{96DAC541-7B7A-43D3-8B79-37D633B846F1}">
                <asvg:svgBlip xmlns:asvg="http://schemas.microsoft.com/office/drawing/2016/SVG/main" r:embed="rId6"/>
              </a:ext>
            </a:extLst>
          </a:blip>
          <a:srcRect/>
          <a:stretch/>
        </p:blipFill>
        <p:spPr>
          <a:xfrm rot="5400000">
            <a:off x="10097704" y="2163762"/>
            <a:ext cx="5409405" cy="1081881"/>
          </a:xfrm>
          <a:prstGeom prst="rect">
            <a:avLst/>
          </a:prstGeom>
        </p:spPr>
      </p:pic>
    </p:spTree>
    <p:custDataLst>
      <p:tags r:id="rId5"/>
    </p:custDataLst>
    <p:extLst>
      <p:ext uri="{BB962C8B-B14F-4D97-AF65-F5344CB8AC3E}">
        <p14:creationId xmlns:p14="http://schemas.microsoft.com/office/powerpoint/2010/main" val="4075378675"/>
      </p:ext>
    </p:extLst>
  </p:cSld>
  <p:clrMap bg1="lt1" tx1="dk1" bg2="lt2" tx2="dk2" accent1="accent1" accent2="accent2" accent3="accent3" accent4="accent4" accent5="accent5" accent6="accent6" hlink="hlink" folHlink="folHlink"/>
  <p:sldLayoutIdLst>
    <p:sldLayoutId id="2147485115" r:id="rId1"/>
    <p:sldLayoutId id="2147485116" r:id="rId2"/>
    <p:sldLayoutId id="2147485118" r:id="rId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p15:clr>
            <a:srgbClr val="F26B43"/>
          </p15:clr>
        </p15:guide>
        <p15:guide id="2" pos="312">
          <p15:clr>
            <a:srgbClr val="F26B43"/>
          </p15:clr>
        </p15:guide>
        <p15:guide id="3" pos="7368">
          <p15:clr>
            <a:srgbClr val="F26B43"/>
          </p15:clr>
        </p15:guide>
        <p15:guide id="4" orient="horz" pos="2160">
          <p15:clr>
            <a:srgbClr val="F26B43"/>
          </p15:clr>
        </p15:guide>
        <p15:guide id="5" orient="horz" pos="432">
          <p15:clr>
            <a:srgbClr val="F26B43"/>
          </p15:clr>
        </p15:guide>
        <p15:guide id="6" orient="horz" pos="3960">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7CE70860-B881-5122-E137-8711CB0D6B02}"/>
              </a:ext>
            </a:extLst>
          </p:cNvPr>
          <p:cNvSpPr>
            <a:spLocks noGrp="1"/>
          </p:cNvSpPr>
          <p:nvPr>
            <p:ph type="title"/>
          </p:nvPr>
        </p:nvSpPr>
        <p:spPr>
          <a:xfrm>
            <a:off x="511175" y="574675"/>
            <a:ext cx="11185525" cy="609398"/>
          </a:xfrm>
          <a:prstGeom prst="rect">
            <a:avLst/>
          </a:prstGeom>
        </p:spPr>
        <p:txBody>
          <a:bodyPr vert="horz" lIns="0" tIns="0" rIns="0" bIns="0" rtlCol="0" anchor="t">
            <a:spAutoFit/>
          </a:bodyPr>
          <a:lstStyle/>
          <a:p>
            <a:r>
              <a:rPr lang="en-US"/>
              <a:t>Click to edit Master title style</a:t>
            </a:r>
          </a:p>
        </p:txBody>
      </p:sp>
      <p:sp>
        <p:nvSpPr>
          <p:cNvPr id="3" name="Text Placeholder 2">
            <a:extLst>
              <a:ext uri="{FF2B5EF4-FFF2-40B4-BE49-F238E27FC236}">
                <a16:creationId xmlns:a16="http://schemas.microsoft.com/office/drawing/2014/main" id="{E606F1A1-1586-42EF-9CA2-16F10CD83DF7}"/>
              </a:ext>
            </a:extLst>
          </p:cNvPr>
          <p:cNvSpPr>
            <a:spLocks noGrp="1"/>
          </p:cNvSpPr>
          <p:nvPr>
            <p:ph type="body" idx="1"/>
          </p:nvPr>
        </p:nvSpPr>
        <p:spPr>
          <a:xfrm>
            <a:off x="511175" y="1698625"/>
            <a:ext cx="11185525"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D253CED-08D6-692F-198E-233A1D7E915D}"/>
              </a:ext>
            </a:extLst>
          </p:cNvPr>
          <p:cNvSpPr>
            <a:spLocks noGrp="1"/>
          </p:cNvSpPr>
          <p:nvPr>
            <p:ph type="dt" sz="half" idx="2"/>
          </p:nvPr>
        </p:nvSpPr>
        <p:spPr>
          <a:xfrm>
            <a:off x="511175" y="6229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DC2E2A91-B98C-49DE-8553-119ECA58152C}" type="datetimeFigureOut">
              <a:rPr lang="en-US" smtClean="0"/>
              <a:t>5/29/2026</a:t>
            </a:fld>
            <a:endParaRPr lang="en-US"/>
          </a:p>
        </p:txBody>
      </p:sp>
      <p:sp>
        <p:nvSpPr>
          <p:cNvPr id="5" name="Footer Placeholder 4">
            <a:extLst>
              <a:ext uri="{FF2B5EF4-FFF2-40B4-BE49-F238E27FC236}">
                <a16:creationId xmlns:a16="http://schemas.microsoft.com/office/drawing/2014/main" id="{1110BB91-0DF2-F86D-A282-C050CAF65527}"/>
              </a:ext>
            </a:extLst>
          </p:cNvPr>
          <p:cNvSpPr>
            <a:spLocks noGrp="1"/>
          </p:cNvSpPr>
          <p:nvPr>
            <p:ph type="ftr" sz="quarter" idx="3"/>
          </p:nvPr>
        </p:nvSpPr>
        <p:spPr>
          <a:xfrm>
            <a:off x="4038600" y="6229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78227534-F4D4-095D-03EE-12A9688346D0}"/>
              </a:ext>
            </a:extLst>
          </p:cNvPr>
          <p:cNvSpPr>
            <a:spLocks noGrp="1"/>
          </p:cNvSpPr>
          <p:nvPr>
            <p:ph type="sldNum" sz="quarter" idx="4"/>
          </p:nvPr>
        </p:nvSpPr>
        <p:spPr>
          <a:xfrm>
            <a:off x="8953500" y="6229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67CA0B0-04EF-433A-8113-67BC344D39D3}" type="slidenum">
              <a:rPr lang="en-US" smtClean="0"/>
              <a:t>‹#›</a:t>
            </a:fld>
            <a:endParaRPr lang="en-US"/>
          </a:p>
        </p:txBody>
      </p:sp>
      <p:pic>
        <p:nvPicPr>
          <p:cNvPr id="7" name="Graphic 6">
            <a:extLst>
              <a:ext uri="{FF2B5EF4-FFF2-40B4-BE49-F238E27FC236}">
                <a16:creationId xmlns:a16="http://schemas.microsoft.com/office/drawing/2014/main" id="{3BAC4348-B8BB-E69B-E197-7B5B8B4EF1F3}"/>
              </a:ext>
            </a:extLst>
          </p:cNvPr>
          <p:cNvPicPr>
            <a:picLocks noChangeAspect="1"/>
          </p:cNvPicPr>
          <p:nvPr userDrawn="1"/>
        </p:nvPicPr>
        <p:blipFill>
          <a:blip>
            <a:extLst>
              <a:ext uri="{96DAC541-7B7A-43D3-8B79-37D633B846F1}">
                <asvg:svgBlip xmlns:asvg="http://schemas.microsoft.com/office/drawing/2016/SVG/main" r:embed="rId6"/>
              </a:ext>
            </a:extLst>
          </a:blip>
          <a:srcRect/>
          <a:stretch/>
        </p:blipFill>
        <p:spPr>
          <a:xfrm rot="5400000">
            <a:off x="10097704" y="2163762"/>
            <a:ext cx="5409405" cy="1081881"/>
          </a:xfrm>
          <a:prstGeom prst="rect">
            <a:avLst/>
          </a:prstGeom>
        </p:spPr>
      </p:pic>
    </p:spTree>
    <p:custDataLst>
      <p:tags r:id="rId5"/>
    </p:custDataLst>
    <p:extLst>
      <p:ext uri="{BB962C8B-B14F-4D97-AF65-F5344CB8AC3E}">
        <p14:creationId xmlns:p14="http://schemas.microsoft.com/office/powerpoint/2010/main" val="981593900"/>
      </p:ext>
    </p:extLst>
  </p:cSld>
  <p:clrMap bg1="lt1" tx1="dk1" bg2="lt2" tx2="dk2" accent1="accent1" accent2="accent2" accent3="accent3" accent4="accent4" accent5="accent5" accent6="accent6" hlink="hlink" folHlink="folHlink"/>
  <p:sldLayoutIdLst>
    <p:sldLayoutId id="2147485120" r:id="rId1"/>
    <p:sldLayoutId id="2147485122" r:id="rId2"/>
    <p:sldLayoutId id="2147485123" r:id="rId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p15:clr>
            <a:srgbClr val="F26B43"/>
          </p15:clr>
        </p15:guide>
        <p15:guide id="2" pos="312">
          <p15:clr>
            <a:srgbClr val="F26B43"/>
          </p15:clr>
        </p15:guide>
        <p15:guide id="3" pos="7368">
          <p15:clr>
            <a:srgbClr val="F26B43"/>
          </p15:clr>
        </p15:guide>
        <p15:guide id="4" orient="horz" pos="2160">
          <p15:clr>
            <a:srgbClr val="F26B43"/>
          </p15:clr>
        </p15:guide>
        <p15:guide id="5" orient="horz" pos="432">
          <p15:clr>
            <a:srgbClr val="F26B43"/>
          </p15:clr>
        </p15:guide>
        <p15:guide id="6" orient="horz" pos="3960">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0.xml"/><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5.xml"/><Relationship Id="rId1" Type="http://schemas.openxmlformats.org/officeDocument/2006/relationships/themeOverride" Target="../theme/themeOverride1.xml"/><Relationship Id="rId4" Type="http://schemas.openxmlformats.org/officeDocument/2006/relationships/image" Target="../media/image5.png"/></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5.xml"/><Relationship Id="rId1" Type="http://schemas.openxmlformats.org/officeDocument/2006/relationships/themeOverride" Target="../theme/themeOverride2.xml"/><Relationship Id="rId4" Type="http://schemas.openxmlformats.org/officeDocument/2006/relationships/image" Target="../media/image5.png"/></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5.xml"/><Relationship Id="rId1" Type="http://schemas.openxmlformats.org/officeDocument/2006/relationships/themeOverride" Target="../theme/themeOverride3.xml"/><Relationship Id="rId5" Type="http://schemas.openxmlformats.org/officeDocument/2006/relationships/image" Target="../media/image6.png"/><Relationship Id="rId4" Type="http://schemas.openxmlformats.org/officeDocument/2006/relationships/image" Target="../media/image5.png"/></Relationships>
</file>

<file path=ppt/slides/_rels/slide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5.xml"/><Relationship Id="rId1"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5.xml"/><Relationship Id="rId1" Type="http://schemas.openxmlformats.org/officeDocument/2006/relationships/themeOverride" Target="../theme/themeOverride4.xml"/><Relationship Id="rId5" Type="http://schemas.openxmlformats.org/officeDocument/2006/relationships/slide" Target="slide7.xml"/><Relationship Id="rId4" Type="http://schemas.openxmlformats.org/officeDocument/2006/relationships/image" Target="../media/image5.png"/></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5.xml"/><Relationship Id="rId1" Type="http://schemas.openxmlformats.org/officeDocument/2006/relationships/themeOverride" Target="../theme/themeOverride5.xml"/><Relationship Id="rId4" Type="http://schemas.openxmlformats.org/officeDocument/2006/relationships/image" Target="../media/image5.png"/></Relationships>
</file>

<file path=ppt/slides/_rels/slide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8.xml"/><Relationship Id="rId1" Type="http://schemas.openxmlformats.org/officeDocument/2006/relationships/slideLayout" Target="../slideLayouts/slideLayout5.xml"/></Relationships>
</file>

<file path=ppt/slides/_rels/slide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9.xml"/><Relationship Id="rId1" Type="http://schemas.openxmlformats.org/officeDocument/2006/relationships/slideLayout" Target="../slideLayouts/slideLayout5.xml"/><Relationship Id="rId4" Type="http://schemas.openxmlformats.org/officeDocument/2006/relationships/hyperlink" Target="https://forms.office.com/Pages/ResponsePage.aspx?id=v4j5cvGGr0GRqy180BHbR10NadL4eRdKpmNFvX5Ohp9UNEFVRlJQOEJFM1haWDExQUszQlU4UEpNNS4u"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ext Placeholder 11">
            <a:extLst>
              <a:ext uri="{FF2B5EF4-FFF2-40B4-BE49-F238E27FC236}">
                <a16:creationId xmlns:a16="http://schemas.microsoft.com/office/drawing/2014/main" id="{94C0BDE9-661F-E827-C3AF-F61BD8ADB97D}"/>
              </a:ext>
            </a:extLst>
          </p:cNvPr>
          <p:cNvSpPr>
            <a:spLocks noGrp="1"/>
          </p:cNvSpPr>
          <p:nvPr>
            <p:ph type="title" idx="4294967295"/>
          </p:nvPr>
        </p:nvSpPr>
        <p:spPr>
          <a:xfrm>
            <a:off x="527050" y="2290763"/>
            <a:ext cx="4019550" cy="1693862"/>
          </a:xfrm>
          <a:prstGeom prst="rect">
            <a:avLst/>
          </a:prstGeom>
          <a:noFill/>
          <a:ln>
            <a:noFill/>
            <a:prstDash/>
          </a:ln>
          <a:effectLst/>
        </p:spPr>
        <p:txBody>
          <a:bodyPr rot="0" spcFirstLastPara="0" vertOverflow="overflow" horzOverflow="overflow" vert="horz" wrap="square" lIns="0" tIns="0" rIns="0" bIns="0" numCol="1" spcCol="0" rtlCol="0" fromWordArt="0" anchor="b" anchorCtr="0" forceAA="0" compatLnSpc="1">
            <a:prstTxWarp prst="textNoShape">
              <a:avLst/>
            </a:prstTxWarp>
            <a:spAutoFit/>
          </a:bodyPr>
          <a:lstStyle/>
          <a:p>
            <a:pPr marL="0" marR="0" lvl="0" indent="0" algn="l" defTabSz="914400" rtl="0" eaLnBrk="1" fontAlgn="auto" latinLnBrk="0" hangingPunct="1">
              <a:lnSpc>
                <a:spcPts val="4400"/>
              </a:lnSpc>
              <a:spcBef>
                <a:spcPts val="1000"/>
              </a:spcBef>
              <a:spcAft>
                <a:spcPts val="0"/>
              </a:spcAft>
              <a:buClrTx/>
              <a:buSzTx/>
              <a:buFont typeface="Arial" panose="020B0604020202020204" pitchFamily="34" charset="0"/>
              <a:buNone/>
              <a:tabLst/>
              <a:defRPr/>
            </a:pPr>
            <a:r>
              <a:rPr kumimoji="0" lang="en-US" sz="4200" b="0" i="0" u="none" strike="noStrike" kern="1200" cap="none" spc="-50" normalizeH="0" baseline="0" noProof="0" dirty="0">
                <a:ln>
                  <a:noFill/>
                </a:ln>
                <a:gradFill>
                  <a:gsLst>
                    <a:gs pos="39000">
                      <a:srgbClr val="712360"/>
                    </a:gs>
                    <a:gs pos="51000">
                      <a:srgbClr val="963E08"/>
                    </a:gs>
                    <a:gs pos="63000">
                      <a:srgbClr val="712360"/>
                    </a:gs>
                  </a:gsLst>
                  <a:path path="circle">
                    <a:fillToRect l="100000" t="100000"/>
                  </a:path>
                </a:gradFill>
                <a:effectLst/>
                <a:uLnTx/>
                <a:uFillTx/>
                <a:latin typeface="+mj-lt"/>
                <a:ea typeface="+mn-ea"/>
                <a:cs typeface="Segoe UI Semibold" panose="020B0502040204020203" pitchFamily="34" charset="0"/>
              </a:rPr>
              <a:t>Copilot Agent Hackathon</a:t>
            </a:r>
          </a:p>
        </p:txBody>
      </p:sp>
      <p:sp>
        <p:nvSpPr>
          <p:cNvPr id="15" name="Text Placeholder 14">
            <a:extLst>
              <a:ext uri="{FF2B5EF4-FFF2-40B4-BE49-F238E27FC236}">
                <a16:creationId xmlns:a16="http://schemas.microsoft.com/office/drawing/2014/main" id="{A7A163D2-67B4-2129-C322-F3FEFF4C830A}"/>
              </a:ext>
            </a:extLst>
          </p:cNvPr>
          <p:cNvSpPr>
            <a:spLocks noGrp="1"/>
          </p:cNvSpPr>
          <p:nvPr>
            <p:ph type="body" sz="quarter" idx="12"/>
          </p:nvPr>
        </p:nvSpPr>
        <p:spPr>
          <a:xfrm>
            <a:off x="527356" y="4362403"/>
            <a:ext cx="4018471" cy="276999"/>
          </a:xfrm>
        </p:spPr>
        <p:txBody>
          <a:bodyPr/>
          <a:lstStyle/>
          <a:p>
            <a:r>
              <a:rPr lang="en-US"/>
              <a:t>Event Overview</a:t>
            </a:r>
          </a:p>
        </p:txBody>
      </p:sp>
    </p:spTree>
    <p:extLst>
      <p:ext uri="{BB962C8B-B14F-4D97-AF65-F5344CB8AC3E}">
        <p14:creationId xmlns:p14="http://schemas.microsoft.com/office/powerpoint/2010/main" val="19777323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6D55227-964C-1479-BA14-A2DE073DA558}"/>
            </a:ext>
          </a:extLst>
        </p:cNvPr>
        <p:cNvGrpSpPr/>
        <p:nvPr/>
      </p:nvGrpSpPr>
      <p:grpSpPr>
        <a:xfrm>
          <a:off x="0" y="0"/>
          <a:ext cx="0" cy="0"/>
          <a:chOff x="0" y="0"/>
          <a:chExt cx="0" cy="0"/>
        </a:xfrm>
      </p:grpSpPr>
      <p:pic>
        <p:nvPicPr>
          <p:cNvPr id="25" name="Picture 24">
            <a:extLst>
              <a:ext uri="{FF2B5EF4-FFF2-40B4-BE49-F238E27FC236}">
                <a16:creationId xmlns:a16="http://schemas.microsoft.com/office/drawing/2014/main" id="{C5A71B96-90C9-7CC2-4C6F-9D3DC8BBD03F}"/>
              </a:ext>
              <a:ext uri="{C183D7F6-B498-43B3-948B-1728B52AA6E4}">
                <adec:decorative xmlns:adec="http://schemas.microsoft.com/office/drawing/2017/decorative" val="1"/>
              </a:ext>
            </a:extLst>
          </p:cNvPr>
          <p:cNvPicPr>
            <a:picLocks noChangeAspect="1"/>
          </p:cNvPicPr>
          <p:nvPr/>
        </p:nvPicPr>
        <p:blipFill>
          <a:blip r:embed="rId3" cstate="screen">
            <a:extLst>
              <a:ext uri="{28A0092B-C50C-407E-A947-70E740481C1C}">
                <a14:useLocalDpi xmlns:a14="http://schemas.microsoft.com/office/drawing/2010/main"/>
              </a:ext>
            </a:extLst>
          </a:blip>
          <a:srcRect/>
          <a:stretch>
            <a:fillRect/>
          </a:stretch>
        </p:blipFill>
        <p:spPr>
          <a:xfrm>
            <a:off x="8564811" y="0"/>
            <a:ext cx="3627189" cy="2380343"/>
          </a:xfrm>
          <a:prstGeom prst="rect">
            <a:avLst/>
          </a:prstGeom>
        </p:spPr>
      </p:pic>
      <p:sp>
        <p:nvSpPr>
          <p:cNvPr id="3" name="Rectangle: Rounded Corners 50">
            <a:extLst>
              <a:ext uri="{FF2B5EF4-FFF2-40B4-BE49-F238E27FC236}">
                <a16:creationId xmlns:a16="http://schemas.microsoft.com/office/drawing/2014/main" id="{7BD5B5E8-E721-6BF7-02E1-782DA6A4EE01}"/>
              </a:ext>
              <a:ext uri="{C183D7F6-B498-43B3-948B-1728B52AA6E4}">
                <adec:decorative xmlns:adec="http://schemas.microsoft.com/office/drawing/2017/decorative" val="1"/>
              </a:ext>
            </a:extLst>
          </p:cNvPr>
          <p:cNvSpPr>
            <a:spLocks/>
          </p:cNvSpPr>
          <p:nvPr/>
        </p:nvSpPr>
        <p:spPr bwMode="auto">
          <a:xfrm>
            <a:off x="513624" y="2352709"/>
            <a:ext cx="11195232" cy="3386772"/>
          </a:xfrm>
          <a:prstGeom prst="roundRect">
            <a:avLst>
              <a:gd name="adj" fmla="val 3527"/>
            </a:avLst>
          </a:prstGeom>
          <a:solidFill>
            <a:schemeClr val="bg1"/>
          </a:solidFill>
          <a:ln>
            <a:noFill/>
          </a:ln>
          <a:effectLst>
            <a:outerShdw blurRad="228600" dist="63500" dir="2700000" algn="tl" rotWithShape="0">
              <a:prstClr val="black">
                <a:alpha val="1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base" latinLnBrk="0" hangingPunct="1">
              <a:lnSpc>
                <a:spcPct val="100000"/>
              </a:lnSpc>
              <a:spcBef>
                <a:spcPct val="0"/>
              </a:spcBef>
              <a:spcAft>
                <a:spcPts val="1200"/>
              </a:spcAft>
              <a:buClrTx/>
              <a:buSzTx/>
              <a:buFontTx/>
              <a:buNone/>
              <a:tabLst>
                <a:tab pos="457200" algn="l"/>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nvGrpSpPr>
          <p:cNvPr id="28" name="Group 27">
            <a:extLst>
              <a:ext uri="{FF2B5EF4-FFF2-40B4-BE49-F238E27FC236}">
                <a16:creationId xmlns:a16="http://schemas.microsoft.com/office/drawing/2014/main" id="{27230E06-69D7-5AAD-C513-CCF40F3FAA65}"/>
              </a:ext>
              <a:ext uri="{C183D7F6-B498-43B3-948B-1728B52AA6E4}">
                <adec:decorative xmlns:adec="http://schemas.microsoft.com/office/drawing/2017/decorative" val="1"/>
              </a:ext>
            </a:extLst>
          </p:cNvPr>
          <p:cNvGrpSpPr/>
          <p:nvPr/>
        </p:nvGrpSpPr>
        <p:grpSpPr>
          <a:xfrm>
            <a:off x="686345" y="2535589"/>
            <a:ext cx="549017" cy="549017"/>
            <a:chOff x="756015" y="1673775"/>
            <a:chExt cx="549017" cy="549017"/>
          </a:xfrm>
        </p:grpSpPr>
        <p:sp>
          <p:nvSpPr>
            <p:cNvPr id="4" name="Oval 3">
              <a:extLst>
                <a:ext uri="{FF2B5EF4-FFF2-40B4-BE49-F238E27FC236}">
                  <a16:creationId xmlns:a16="http://schemas.microsoft.com/office/drawing/2014/main" id="{508D388C-CCFA-A65A-3239-24094ECDD78A}"/>
                </a:ext>
              </a:extLst>
            </p:cNvPr>
            <p:cNvSpPr>
              <a:spLocks/>
            </p:cNvSpPr>
            <p:nvPr/>
          </p:nvSpPr>
          <p:spPr bwMode="auto">
            <a:xfrm>
              <a:off x="756015" y="1673775"/>
              <a:ext cx="549017" cy="549017"/>
            </a:xfrm>
            <a:prstGeom prst="ellipse">
              <a:avLst/>
            </a:prstGeom>
            <a:solidFill>
              <a:schemeClr val="bg1"/>
            </a:solidFill>
            <a:ln w="19050">
              <a:gradFill>
                <a:gsLst>
                  <a:gs pos="100000">
                    <a:srgbClr val="C03BC4"/>
                  </a:gs>
                  <a:gs pos="0">
                    <a:srgbClr val="0078D4"/>
                  </a:gs>
                </a:gsLst>
                <a:lin ang="0" scaled="0"/>
              </a:gradFill>
            </a:ln>
            <a:effectLst>
              <a:outerShdw blurRad="177800" dist="25400" algn="tl" rotWithShape="0">
                <a:prstClr val="black">
                  <a:alpha val="5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6" name="Graphic 31" descr="Icon of a group of three people">
              <a:extLst>
                <a:ext uri="{FF2B5EF4-FFF2-40B4-BE49-F238E27FC236}">
                  <a16:creationId xmlns:a16="http://schemas.microsoft.com/office/drawing/2014/main" id="{21DED31D-8CB3-4A1E-7E02-957E9184DE33}"/>
                </a:ext>
              </a:extLst>
            </p:cNvPr>
            <p:cNvSpPr/>
            <p:nvPr/>
          </p:nvSpPr>
          <p:spPr>
            <a:xfrm>
              <a:off x="875640" y="1808852"/>
              <a:ext cx="309766" cy="278862"/>
            </a:xfrm>
            <a:custGeom>
              <a:avLst/>
              <a:gdLst>
                <a:gd name="connsiteX0" fmla="*/ 198244 w 311045"/>
                <a:gd name="connsiteY0" fmla="*/ 186583 h 280014"/>
                <a:gd name="connsiteX1" fmla="*/ 225454 w 311045"/>
                <a:gd name="connsiteY1" fmla="*/ 213793 h 280014"/>
                <a:gd name="connsiteX2" fmla="*/ 225437 w 311045"/>
                <a:gd name="connsiteY2" fmla="*/ 228752 h 280014"/>
                <a:gd name="connsiteX3" fmla="*/ 156524 w 311045"/>
                <a:gd name="connsiteY3" fmla="*/ 280014 h 280014"/>
                <a:gd name="connsiteX4" fmla="*/ 85517 w 311045"/>
                <a:gd name="connsiteY4" fmla="*/ 229342 h 280014"/>
                <a:gd name="connsiteX5" fmla="*/ 85517 w 311045"/>
                <a:gd name="connsiteY5" fmla="*/ 213793 h 280014"/>
                <a:gd name="connsiteX6" fmla="*/ 112727 w 311045"/>
                <a:gd name="connsiteY6" fmla="*/ 186583 h 280014"/>
                <a:gd name="connsiteX7" fmla="*/ 198244 w 311045"/>
                <a:gd name="connsiteY7" fmla="*/ 186583 h 280014"/>
                <a:gd name="connsiteX8" fmla="*/ 198244 w 311045"/>
                <a:gd name="connsiteY8" fmla="*/ 209906 h 280014"/>
                <a:gd name="connsiteX9" fmla="*/ 112727 w 311045"/>
                <a:gd name="connsiteY9" fmla="*/ 209906 h 280014"/>
                <a:gd name="connsiteX10" fmla="*/ 108840 w 311045"/>
                <a:gd name="connsiteY10" fmla="*/ 213793 h 280014"/>
                <a:gd name="connsiteX11" fmla="*/ 108840 w 311045"/>
                <a:gd name="connsiteY11" fmla="*/ 229342 h 280014"/>
                <a:gd name="connsiteX12" fmla="*/ 156524 w 311045"/>
                <a:gd name="connsiteY12" fmla="*/ 256692 h 280014"/>
                <a:gd name="connsiteX13" fmla="*/ 202132 w 311045"/>
                <a:gd name="connsiteY13" fmla="*/ 229373 h 280014"/>
                <a:gd name="connsiteX14" fmla="*/ 202132 w 311045"/>
                <a:gd name="connsiteY14" fmla="*/ 213793 h 280014"/>
                <a:gd name="connsiteX15" fmla="*/ 198244 w 311045"/>
                <a:gd name="connsiteY15" fmla="*/ 209906 h 280014"/>
                <a:gd name="connsiteX16" fmla="*/ 27210 w 311045"/>
                <a:gd name="connsiteY16" fmla="*/ 108840 h 280014"/>
                <a:gd name="connsiteX17" fmla="*/ 95251 w 311045"/>
                <a:gd name="connsiteY17" fmla="*/ 108842 h 280014"/>
                <a:gd name="connsiteX18" fmla="*/ 93292 w 311045"/>
                <a:gd name="connsiteY18" fmla="*/ 124389 h 280014"/>
                <a:gd name="connsiteX19" fmla="*/ 93771 w 311045"/>
                <a:gd name="connsiteY19" fmla="*/ 132152 h 280014"/>
                <a:gd name="connsiteX20" fmla="*/ 27210 w 311045"/>
                <a:gd name="connsiteY20" fmla="*/ 132163 h 280014"/>
                <a:gd name="connsiteX21" fmla="*/ 23323 w 311045"/>
                <a:gd name="connsiteY21" fmla="*/ 136050 h 280014"/>
                <a:gd name="connsiteX22" fmla="*/ 23323 w 311045"/>
                <a:gd name="connsiteY22" fmla="*/ 151599 h 280014"/>
                <a:gd name="connsiteX23" fmla="*/ 71007 w 311045"/>
                <a:gd name="connsiteY23" fmla="*/ 178949 h 280014"/>
                <a:gd name="connsiteX24" fmla="*/ 89783 w 311045"/>
                <a:gd name="connsiteY24" fmla="*/ 177747 h 280014"/>
                <a:gd name="connsiteX25" fmla="*/ 71542 w 311045"/>
                <a:gd name="connsiteY25" fmla="*/ 202259 h 280014"/>
                <a:gd name="connsiteX26" fmla="*/ 71007 w 311045"/>
                <a:gd name="connsiteY26" fmla="*/ 202272 h 280014"/>
                <a:gd name="connsiteX27" fmla="*/ 0 w 311045"/>
                <a:gd name="connsiteY27" fmla="*/ 151599 h 280014"/>
                <a:gd name="connsiteX28" fmla="*/ 0 w 311045"/>
                <a:gd name="connsiteY28" fmla="*/ 136050 h 280014"/>
                <a:gd name="connsiteX29" fmla="*/ 27210 w 311045"/>
                <a:gd name="connsiteY29" fmla="*/ 108840 h 280014"/>
                <a:gd name="connsiteX30" fmla="*/ 283762 w 311045"/>
                <a:gd name="connsiteY30" fmla="*/ 108840 h 280014"/>
                <a:gd name="connsiteX31" fmla="*/ 310972 w 311045"/>
                <a:gd name="connsiteY31" fmla="*/ 136050 h 280014"/>
                <a:gd name="connsiteX32" fmla="*/ 310955 w 311045"/>
                <a:gd name="connsiteY32" fmla="*/ 151009 h 280014"/>
                <a:gd name="connsiteX33" fmla="*/ 242042 w 311045"/>
                <a:gd name="connsiteY33" fmla="*/ 202272 h 280014"/>
                <a:gd name="connsiteX34" fmla="*/ 239425 w 311045"/>
                <a:gd name="connsiteY34" fmla="*/ 202245 h 280014"/>
                <a:gd name="connsiteX35" fmla="*/ 220484 w 311045"/>
                <a:gd name="connsiteY35" fmla="*/ 177266 h 280014"/>
                <a:gd name="connsiteX36" fmla="*/ 242042 w 311045"/>
                <a:gd name="connsiteY36" fmla="*/ 178949 h 280014"/>
                <a:gd name="connsiteX37" fmla="*/ 287649 w 311045"/>
                <a:gd name="connsiteY37" fmla="*/ 151630 h 280014"/>
                <a:gd name="connsiteX38" fmla="*/ 287649 w 311045"/>
                <a:gd name="connsiteY38" fmla="*/ 136050 h 280014"/>
                <a:gd name="connsiteX39" fmla="*/ 283762 w 311045"/>
                <a:gd name="connsiteY39" fmla="*/ 132163 h 280014"/>
                <a:gd name="connsiteX40" fmla="*/ 217201 w 311045"/>
                <a:gd name="connsiteY40" fmla="*/ 132151 h 280014"/>
                <a:gd name="connsiteX41" fmla="*/ 217680 w 311045"/>
                <a:gd name="connsiteY41" fmla="*/ 124389 h 280014"/>
                <a:gd name="connsiteX42" fmla="*/ 215721 w 311045"/>
                <a:gd name="connsiteY42" fmla="*/ 108842 h 280014"/>
                <a:gd name="connsiteX43" fmla="*/ 283762 w 311045"/>
                <a:gd name="connsiteY43" fmla="*/ 108840 h 280014"/>
                <a:gd name="connsiteX44" fmla="*/ 155486 w 311045"/>
                <a:gd name="connsiteY44" fmla="*/ 77743 h 280014"/>
                <a:gd name="connsiteX45" fmla="*/ 202132 w 311045"/>
                <a:gd name="connsiteY45" fmla="*/ 124389 h 280014"/>
                <a:gd name="connsiteX46" fmla="*/ 155486 w 311045"/>
                <a:gd name="connsiteY46" fmla="*/ 171034 h 280014"/>
                <a:gd name="connsiteX47" fmla="*/ 108840 w 311045"/>
                <a:gd name="connsiteY47" fmla="*/ 124389 h 280014"/>
                <a:gd name="connsiteX48" fmla="*/ 155486 w 311045"/>
                <a:gd name="connsiteY48" fmla="*/ 77743 h 280014"/>
                <a:gd name="connsiteX49" fmla="*/ 155486 w 311045"/>
                <a:gd name="connsiteY49" fmla="*/ 101066 h 280014"/>
                <a:gd name="connsiteX50" fmla="*/ 132163 w 311045"/>
                <a:gd name="connsiteY50" fmla="*/ 124389 h 280014"/>
                <a:gd name="connsiteX51" fmla="*/ 155486 w 311045"/>
                <a:gd name="connsiteY51" fmla="*/ 147712 h 280014"/>
                <a:gd name="connsiteX52" fmla="*/ 178809 w 311045"/>
                <a:gd name="connsiteY52" fmla="*/ 124389 h 280014"/>
                <a:gd name="connsiteX53" fmla="*/ 155486 w 311045"/>
                <a:gd name="connsiteY53" fmla="*/ 101066 h 280014"/>
                <a:gd name="connsiteX54" fmla="*/ 69969 w 311045"/>
                <a:gd name="connsiteY54" fmla="*/ 0 h 280014"/>
                <a:gd name="connsiteX55" fmla="*/ 116614 w 311045"/>
                <a:gd name="connsiteY55" fmla="*/ 46646 h 280014"/>
                <a:gd name="connsiteX56" fmla="*/ 69969 w 311045"/>
                <a:gd name="connsiteY56" fmla="*/ 93292 h 280014"/>
                <a:gd name="connsiteX57" fmla="*/ 23323 w 311045"/>
                <a:gd name="connsiteY57" fmla="*/ 46646 h 280014"/>
                <a:gd name="connsiteX58" fmla="*/ 69969 w 311045"/>
                <a:gd name="connsiteY58" fmla="*/ 0 h 280014"/>
                <a:gd name="connsiteX59" fmla="*/ 241003 w 311045"/>
                <a:gd name="connsiteY59" fmla="*/ 0 h 280014"/>
                <a:gd name="connsiteX60" fmla="*/ 287649 w 311045"/>
                <a:gd name="connsiteY60" fmla="*/ 46646 h 280014"/>
                <a:gd name="connsiteX61" fmla="*/ 241003 w 311045"/>
                <a:gd name="connsiteY61" fmla="*/ 93292 h 280014"/>
                <a:gd name="connsiteX62" fmla="*/ 194357 w 311045"/>
                <a:gd name="connsiteY62" fmla="*/ 46646 h 280014"/>
                <a:gd name="connsiteX63" fmla="*/ 241003 w 311045"/>
                <a:gd name="connsiteY63" fmla="*/ 0 h 280014"/>
                <a:gd name="connsiteX64" fmla="*/ 69969 w 311045"/>
                <a:gd name="connsiteY64" fmla="*/ 23323 h 280014"/>
                <a:gd name="connsiteX65" fmla="*/ 46646 w 311045"/>
                <a:gd name="connsiteY65" fmla="*/ 46646 h 280014"/>
                <a:gd name="connsiteX66" fmla="*/ 69969 w 311045"/>
                <a:gd name="connsiteY66" fmla="*/ 69969 h 280014"/>
                <a:gd name="connsiteX67" fmla="*/ 93292 w 311045"/>
                <a:gd name="connsiteY67" fmla="*/ 46646 h 280014"/>
                <a:gd name="connsiteX68" fmla="*/ 69969 w 311045"/>
                <a:gd name="connsiteY68" fmla="*/ 23323 h 280014"/>
                <a:gd name="connsiteX69" fmla="*/ 241003 w 311045"/>
                <a:gd name="connsiteY69" fmla="*/ 23323 h 280014"/>
                <a:gd name="connsiteX70" fmla="*/ 217680 w 311045"/>
                <a:gd name="connsiteY70" fmla="*/ 46646 h 280014"/>
                <a:gd name="connsiteX71" fmla="*/ 241003 w 311045"/>
                <a:gd name="connsiteY71" fmla="*/ 69969 h 280014"/>
                <a:gd name="connsiteX72" fmla="*/ 264326 w 311045"/>
                <a:gd name="connsiteY72" fmla="*/ 46646 h 280014"/>
                <a:gd name="connsiteX73" fmla="*/ 241003 w 311045"/>
                <a:gd name="connsiteY73" fmla="*/ 23323 h 2800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Lst>
              <a:rect l="l" t="t" r="r" b="b"/>
              <a:pathLst>
                <a:path w="311045" h="280014">
                  <a:moveTo>
                    <a:pt x="198244" y="186583"/>
                  </a:moveTo>
                  <a:cubicBezTo>
                    <a:pt x="213272" y="186583"/>
                    <a:pt x="225454" y="198765"/>
                    <a:pt x="225454" y="213793"/>
                  </a:cubicBezTo>
                  <a:lnTo>
                    <a:pt x="225437" y="228752"/>
                  </a:lnTo>
                  <a:cubicBezTo>
                    <a:pt x="227252" y="262790"/>
                    <a:pt x="201943" y="280014"/>
                    <a:pt x="156524" y="280014"/>
                  </a:cubicBezTo>
                  <a:cubicBezTo>
                    <a:pt x="111295" y="280014"/>
                    <a:pt x="85517" y="263070"/>
                    <a:pt x="85517" y="229342"/>
                  </a:cubicBezTo>
                  <a:lnTo>
                    <a:pt x="85517" y="213793"/>
                  </a:lnTo>
                  <a:cubicBezTo>
                    <a:pt x="85517" y="198765"/>
                    <a:pt x="97700" y="186583"/>
                    <a:pt x="112727" y="186583"/>
                  </a:cubicBezTo>
                  <a:lnTo>
                    <a:pt x="198244" y="186583"/>
                  </a:lnTo>
                  <a:close/>
                  <a:moveTo>
                    <a:pt x="198244" y="209906"/>
                  </a:moveTo>
                  <a:lnTo>
                    <a:pt x="112727" y="209906"/>
                  </a:lnTo>
                  <a:cubicBezTo>
                    <a:pt x="110580" y="209906"/>
                    <a:pt x="108840" y="211646"/>
                    <a:pt x="108840" y="213793"/>
                  </a:cubicBezTo>
                  <a:lnTo>
                    <a:pt x="108840" y="229342"/>
                  </a:lnTo>
                  <a:cubicBezTo>
                    <a:pt x="108840" y="247630"/>
                    <a:pt x="122627" y="256692"/>
                    <a:pt x="156524" y="256692"/>
                  </a:cubicBezTo>
                  <a:cubicBezTo>
                    <a:pt x="190232" y="256692"/>
                    <a:pt x="203103" y="247930"/>
                    <a:pt x="202132" y="229373"/>
                  </a:cubicBezTo>
                  <a:lnTo>
                    <a:pt x="202132" y="213793"/>
                  </a:lnTo>
                  <a:cubicBezTo>
                    <a:pt x="202132" y="211646"/>
                    <a:pt x="200392" y="209906"/>
                    <a:pt x="198244" y="209906"/>
                  </a:cubicBezTo>
                  <a:close/>
                  <a:moveTo>
                    <a:pt x="27210" y="108840"/>
                  </a:moveTo>
                  <a:lnTo>
                    <a:pt x="95251" y="108842"/>
                  </a:lnTo>
                  <a:cubicBezTo>
                    <a:pt x="93972" y="113811"/>
                    <a:pt x="93292" y="119020"/>
                    <a:pt x="93292" y="124389"/>
                  </a:cubicBezTo>
                  <a:cubicBezTo>
                    <a:pt x="93292" y="127018"/>
                    <a:pt x="93455" y="129610"/>
                    <a:pt x="93771" y="132152"/>
                  </a:cubicBezTo>
                  <a:lnTo>
                    <a:pt x="27210" y="132163"/>
                  </a:lnTo>
                  <a:cubicBezTo>
                    <a:pt x="25063" y="132163"/>
                    <a:pt x="23323" y="133903"/>
                    <a:pt x="23323" y="136050"/>
                  </a:cubicBezTo>
                  <a:lnTo>
                    <a:pt x="23323" y="151599"/>
                  </a:lnTo>
                  <a:cubicBezTo>
                    <a:pt x="23323" y="169887"/>
                    <a:pt x="37109" y="178949"/>
                    <a:pt x="71007" y="178949"/>
                  </a:cubicBezTo>
                  <a:cubicBezTo>
                    <a:pt x="78189" y="178949"/>
                    <a:pt x="84425" y="178552"/>
                    <a:pt x="89783" y="177747"/>
                  </a:cubicBezTo>
                  <a:cubicBezTo>
                    <a:pt x="80995" y="183313"/>
                    <a:pt x="74407" y="192009"/>
                    <a:pt x="71542" y="202259"/>
                  </a:cubicBezTo>
                  <a:lnTo>
                    <a:pt x="71007" y="202272"/>
                  </a:lnTo>
                  <a:cubicBezTo>
                    <a:pt x="25777" y="202272"/>
                    <a:pt x="0" y="185327"/>
                    <a:pt x="0" y="151599"/>
                  </a:cubicBezTo>
                  <a:lnTo>
                    <a:pt x="0" y="136050"/>
                  </a:lnTo>
                  <a:cubicBezTo>
                    <a:pt x="0" y="121022"/>
                    <a:pt x="12182" y="108840"/>
                    <a:pt x="27210" y="108840"/>
                  </a:cubicBezTo>
                  <a:close/>
                  <a:moveTo>
                    <a:pt x="283762" y="108840"/>
                  </a:moveTo>
                  <a:cubicBezTo>
                    <a:pt x="298789" y="108840"/>
                    <a:pt x="310972" y="121022"/>
                    <a:pt x="310972" y="136050"/>
                  </a:cubicBezTo>
                  <a:lnTo>
                    <a:pt x="310955" y="151009"/>
                  </a:lnTo>
                  <a:cubicBezTo>
                    <a:pt x="312769" y="185047"/>
                    <a:pt x="287461" y="202272"/>
                    <a:pt x="242042" y="202272"/>
                  </a:cubicBezTo>
                  <a:lnTo>
                    <a:pt x="239425" y="202245"/>
                  </a:lnTo>
                  <a:cubicBezTo>
                    <a:pt x="236480" y="191717"/>
                    <a:pt x="229606" y="182831"/>
                    <a:pt x="220484" y="177266"/>
                  </a:cubicBezTo>
                  <a:cubicBezTo>
                    <a:pt x="226496" y="178394"/>
                    <a:pt x="233653" y="178949"/>
                    <a:pt x="242042" y="178949"/>
                  </a:cubicBezTo>
                  <a:cubicBezTo>
                    <a:pt x="275749" y="178949"/>
                    <a:pt x="288621" y="170187"/>
                    <a:pt x="287649" y="151630"/>
                  </a:cubicBezTo>
                  <a:lnTo>
                    <a:pt x="287649" y="136050"/>
                  </a:lnTo>
                  <a:cubicBezTo>
                    <a:pt x="287649" y="133903"/>
                    <a:pt x="285909" y="132163"/>
                    <a:pt x="283762" y="132163"/>
                  </a:cubicBezTo>
                  <a:lnTo>
                    <a:pt x="217201" y="132151"/>
                  </a:lnTo>
                  <a:cubicBezTo>
                    <a:pt x="217517" y="129608"/>
                    <a:pt x="217680" y="127018"/>
                    <a:pt x="217680" y="124389"/>
                  </a:cubicBezTo>
                  <a:cubicBezTo>
                    <a:pt x="217680" y="119020"/>
                    <a:pt x="217001" y="113811"/>
                    <a:pt x="215721" y="108842"/>
                  </a:cubicBezTo>
                  <a:lnTo>
                    <a:pt x="283762" y="108840"/>
                  </a:lnTo>
                  <a:close/>
                  <a:moveTo>
                    <a:pt x="155486" y="77743"/>
                  </a:moveTo>
                  <a:cubicBezTo>
                    <a:pt x="181248" y="77743"/>
                    <a:pt x="202132" y="98627"/>
                    <a:pt x="202132" y="124389"/>
                  </a:cubicBezTo>
                  <a:cubicBezTo>
                    <a:pt x="202132" y="150151"/>
                    <a:pt x="181248" y="171034"/>
                    <a:pt x="155486" y="171034"/>
                  </a:cubicBezTo>
                  <a:cubicBezTo>
                    <a:pt x="129723" y="171034"/>
                    <a:pt x="108840" y="150151"/>
                    <a:pt x="108840" y="124389"/>
                  </a:cubicBezTo>
                  <a:cubicBezTo>
                    <a:pt x="108840" y="98627"/>
                    <a:pt x="129723" y="77743"/>
                    <a:pt x="155486" y="77743"/>
                  </a:cubicBezTo>
                  <a:close/>
                  <a:moveTo>
                    <a:pt x="155486" y="101066"/>
                  </a:moveTo>
                  <a:cubicBezTo>
                    <a:pt x="142605" y="101066"/>
                    <a:pt x="132163" y="111508"/>
                    <a:pt x="132163" y="124389"/>
                  </a:cubicBezTo>
                  <a:cubicBezTo>
                    <a:pt x="132163" y="137269"/>
                    <a:pt x="142605" y="147712"/>
                    <a:pt x="155486" y="147712"/>
                  </a:cubicBezTo>
                  <a:cubicBezTo>
                    <a:pt x="168366" y="147712"/>
                    <a:pt x="178809" y="137269"/>
                    <a:pt x="178809" y="124389"/>
                  </a:cubicBezTo>
                  <a:cubicBezTo>
                    <a:pt x="178809" y="111508"/>
                    <a:pt x="168366" y="101066"/>
                    <a:pt x="155486" y="101066"/>
                  </a:cubicBezTo>
                  <a:close/>
                  <a:moveTo>
                    <a:pt x="69969" y="0"/>
                  </a:moveTo>
                  <a:cubicBezTo>
                    <a:pt x="95730" y="0"/>
                    <a:pt x="116614" y="20884"/>
                    <a:pt x="116614" y="46646"/>
                  </a:cubicBezTo>
                  <a:cubicBezTo>
                    <a:pt x="116614" y="72407"/>
                    <a:pt x="95730" y="93292"/>
                    <a:pt x="69969" y="93292"/>
                  </a:cubicBezTo>
                  <a:cubicBezTo>
                    <a:pt x="44207" y="93292"/>
                    <a:pt x="23323" y="72407"/>
                    <a:pt x="23323" y="46646"/>
                  </a:cubicBezTo>
                  <a:cubicBezTo>
                    <a:pt x="23323" y="20884"/>
                    <a:pt x="44207" y="0"/>
                    <a:pt x="69969" y="0"/>
                  </a:cubicBezTo>
                  <a:close/>
                  <a:moveTo>
                    <a:pt x="241003" y="0"/>
                  </a:moveTo>
                  <a:cubicBezTo>
                    <a:pt x="266766" y="0"/>
                    <a:pt x="287649" y="20884"/>
                    <a:pt x="287649" y="46646"/>
                  </a:cubicBezTo>
                  <a:cubicBezTo>
                    <a:pt x="287649" y="72407"/>
                    <a:pt x="266766" y="93292"/>
                    <a:pt x="241003" y="93292"/>
                  </a:cubicBezTo>
                  <a:cubicBezTo>
                    <a:pt x="215241" y="93292"/>
                    <a:pt x="194357" y="72407"/>
                    <a:pt x="194357" y="46646"/>
                  </a:cubicBezTo>
                  <a:cubicBezTo>
                    <a:pt x="194357" y="20884"/>
                    <a:pt x="215241" y="0"/>
                    <a:pt x="241003" y="0"/>
                  </a:cubicBezTo>
                  <a:close/>
                  <a:moveTo>
                    <a:pt x="69969" y="23323"/>
                  </a:moveTo>
                  <a:cubicBezTo>
                    <a:pt x="57088" y="23323"/>
                    <a:pt x="46646" y="33765"/>
                    <a:pt x="46646" y="46646"/>
                  </a:cubicBezTo>
                  <a:cubicBezTo>
                    <a:pt x="46646" y="59527"/>
                    <a:pt x="57088" y="69969"/>
                    <a:pt x="69969" y="69969"/>
                  </a:cubicBezTo>
                  <a:cubicBezTo>
                    <a:pt x="82850" y="69969"/>
                    <a:pt x="93292" y="59527"/>
                    <a:pt x="93292" y="46646"/>
                  </a:cubicBezTo>
                  <a:cubicBezTo>
                    <a:pt x="93292" y="33765"/>
                    <a:pt x="82850" y="23323"/>
                    <a:pt x="69969" y="23323"/>
                  </a:cubicBezTo>
                  <a:close/>
                  <a:moveTo>
                    <a:pt x="241003" y="23323"/>
                  </a:moveTo>
                  <a:cubicBezTo>
                    <a:pt x="228123" y="23323"/>
                    <a:pt x="217680" y="33765"/>
                    <a:pt x="217680" y="46646"/>
                  </a:cubicBezTo>
                  <a:cubicBezTo>
                    <a:pt x="217680" y="59527"/>
                    <a:pt x="228123" y="69969"/>
                    <a:pt x="241003" y="69969"/>
                  </a:cubicBezTo>
                  <a:cubicBezTo>
                    <a:pt x="253883" y="69969"/>
                    <a:pt x="264326" y="59527"/>
                    <a:pt x="264326" y="46646"/>
                  </a:cubicBezTo>
                  <a:cubicBezTo>
                    <a:pt x="264326" y="33765"/>
                    <a:pt x="253883" y="23323"/>
                    <a:pt x="241003" y="23323"/>
                  </a:cubicBezTo>
                  <a:close/>
                </a:path>
              </a:pathLst>
            </a:custGeom>
            <a:gradFill flip="none" rotWithShape="1">
              <a:gsLst>
                <a:gs pos="0">
                  <a:srgbClr val="0078D4"/>
                </a:gs>
                <a:gs pos="100000">
                  <a:srgbClr val="C53FCC"/>
                </a:gs>
              </a:gsLst>
              <a:lin ang="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lIns="704088" tIns="45720" rIns="91440" bIns="45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white"/>
                </a:solidFill>
                <a:effectLst/>
                <a:uLnTx/>
                <a:uFillTx/>
                <a:latin typeface="Segoe UI Semibold"/>
                <a:ea typeface="+mn-ea"/>
                <a:cs typeface="+mn-cs"/>
              </a:endParaRPr>
            </a:p>
          </p:txBody>
        </p:sp>
      </p:grpSp>
      <p:sp>
        <p:nvSpPr>
          <p:cNvPr id="10" name="Title 9">
            <a:extLst>
              <a:ext uri="{FF2B5EF4-FFF2-40B4-BE49-F238E27FC236}">
                <a16:creationId xmlns:a16="http://schemas.microsoft.com/office/drawing/2014/main" id="{48DD1965-73E7-0949-61DA-DFE0BC6AFAE5}"/>
              </a:ext>
            </a:extLst>
          </p:cNvPr>
          <p:cNvSpPr>
            <a:spLocks noGrp="1"/>
          </p:cNvSpPr>
          <p:nvPr>
            <p:ph type="title"/>
          </p:nvPr>
        </p:nvSpPr>
        <p:spPr>
          <a:xfrm>
            <a:off x="511628" y="574386"/>
            <a:ext cx="11185072" cy="498598"/>
          </a:xfrm>
        </p:spPr>
        <p:txBody>
          <a:bodyPr/>
          <a:lstStyle/>
          <a:p>
            <a:r>
              <a:rPr lang="en-US"/>
              <a:t>Added event considerations</a:t>
            </a:r>
            <a:endParaRPr lang="en-GB"/>
          </a:p>
        </p:txBody>
      </p:sp>
      <p:sp>
        <p:nvSpPr>
          <p:cNvPr id="5" name="TextBox 7, chunk 1, chunk 1">
            <a:extLst>
              <a:ext uri="{FF2B5EF4-FFF2-40B4-BE49-F238E27FC236}">
                <a16:creationId xmlns:a16="http://schemas.microsoft.com/office/drawing/2014/main" id="{FA09DB6F-2331-3507-730B-1C1F0812E1B3}"/>
              </a:ext>
            </a:extLst>
          </p:cNvPr>
          <p:cNvSpPr txBox="1"/>
          <p:nvPr/>
        </p:nvSpPr>
        <p:spPr>
          <a:xfrm>
            <a:off x="1447801" y="2535589"/>
            <a:ext cx="9988184" cy="2831544"/>
          </a:xfrm>
          <a:prstGeom prst="rect">
            <a:avLst/>
          </a:prstGeom>
          <a:noFill/>
        </p:spPr>
        <p:txBody>
          <a:bodyPr wrap="square" lIns="0" tIns="0" rIns="0" bIns="0" numCol="1" rtlCol="0" anchor="t">
            <a:spAutoFit/>
          </a:bodyPr>
          <a:lstStyle>
            <a:defPPr>
              <a:defRPr lang="en-US"/>
            </a:defPPr>
            <a:lvl1pPr marR="0" lvl="0" indent="0" fontAlgn="auto">
              <a:lnSpc>
                <a:spcPct val="100000"/>
              </a:lnSpc>
              <a:spcBef>
                <a:spcPts val="0"/>
              </a:spcBef>
              <a:spcAft>
                <a:spcPts val="0"/>
              </a:spcAft>
              <a:buClrTx/>
              <a:buSzTx/>
              <a:buFontTx/>
              <a:buNone/>
              <a:tabLst/>
              <a:defRPr kumimoji="0" sz="2000" b="0" i="0" u="none" strike="noStrike" kern="0" cap="none" spc="0" normalizeH="0" baseline="0">
                <a:ln>
                  <a:noFill/>
                </a:ln>
                <a:solidFill>
                  <a:prstClr val="black"/>
                </a:solidFill>
                <a:effectLst/>
                <a:uLnTx/>
                <a:uFillTx/>
                <a:latin typeface="Segoe UI"/>
              </a:defRPr>
            </a:lvl1pPr>
          </a:lstStyle>
          <a:p>
            <a:pPr>
              <a:spcAft>
                <a:spcPts val="600"/>
              </a:spcAft>
              <a:defRPr/>
            </a:pPr>
            <a:r>
              <a:rPr kumimoji="0" lang="en-US" sz="1800" b="0" i="0" u="none" strike="noStrike" kern="0" cap="none" spc="0" normalizeH="0" baseline="0" noProof="0" dirty="0">
                <a:ln>
                  <a:noFill/>
                </a:ln>
                <a:effectLst/>
                <a:uLnTx/>
                <a:uFillTx/>
                <a:latin typeface="Segoe UI Semibold"/>
                <a:ea typeface="+mn-ea"/>
                <a:cs typeface="+mn-cs"/>
              </a:rPr>
              <a:t>If the event is targeted at</a:t>
            </a:r>
            <a:r>
              <a:rPr lang="en-US" sz="1800" dirty="0">
                <a:latin typeface="Segoe UI Semibold"/>
              </a:rPr>
              <a:t> </a:t>
            </a:r>
            <a:r>
              <a:rPr kumimoji="0" lang="en-US" sz="1800" b="0" i="0" u="none" strike="noStrike" kern="0" cap="none" spc="0" normalizeH="0" baseline="0" noProof="0" dirty="0">
                <a:ln>
                  <a:noFill/>
                </a:ln>
                <a:effectLst/>
                <a:uLnTx/>
                <a:uFillTx/>
                <a:latin typeface="Segoe UI Semibold"/>
                <a:ea typeface="+mn-ea"/>
                <a:cs typeface="+mn-cs"/>
              </a:rPr>
              <a:t>participants </a:t>
            </a:r>
            <a:r>
              <a:rPr kumimoji="0" lang="en-US" sz="1800" b="0" i="0" u="none" strike="noStrike" kern="0" cap="none" spc="0" normalizeH="0" baseline="0" noProof="0" dirty="0">
                <a:ln>
                  <a:noFill/>
                </a:ln>
                <a:solidFill>
                  <a:srgbClr val="0078D4"/>
                </a:solidFill>
                <a:effectLst/>
                <a:uLnTx/>
                <a:uFillTx/>
                <a:latin typeface="Segoe UI Semibold"/>
                <a:ea typeface="+mn-ea"/>
                <a:cs typeface="+mn-cs"/>
              </a:rPr>
              <a:t>without a Microsoft 365 Copilot license</a:t>
            </a:r>
            <a:r>
              <a:rPr kumimoji="0" lang="en-US" sz="1800" b="0" i="0" u="none" strike="noStrike" kern="0" cap="none" spc="0" normalizeH="0" baseline="0" noProof="0" dirty="0">
                <a:ln>
                  <a:noFill/>
                </a:ln>
                <a:effectLst/>
                <a:uLnTx/>
                <a:uFillTx/>
                <a:latin typeface="Segoe UI Semibold"/>
                <a:ea typeface="+mn-ea"/>
                <a:cs typeface="+mn-cs"/>
              </a:rPr>
              <a:t>, consider making the following tweaks:</a:t>
            </a:r>
          </a:p>
          <a:p>
            <a:pPr marL="320675" marR="0" lvl="0" indent="-19812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800" b="0" i="0" u="none" strike="noStrike" kern="0" cap="none" spc="0" normalizeH="0" baseline="0" noProof="0" dirty="0">
                <a:ln>
                  <a:noFill/>
                </a:ln>
                <a:effectLst/>
                <a:uLnTx/>
                <a:uFillTx/>
                <a:latin typeface="Segoe UI Semibold"/>
                <a:ea typeface="+mn-ea"/>
                <a:cs typeface="+mn-cs"/>
              </a:rPr>
              <a:t>Hands on lab session </a:t>
            </a:r>
            <a:r>
              <a:rPr kumimoji="0" lang="en-US" sz="1800" b="0" i="0" u="none" strike="noStrike" kern="0" cap="none" spc="0" normalizeH="0" baseline="0" noProof="0" dirty="0">
                <a:ln>
                  <a:noFill/>
                </a:ln>
                <a:effectLst/>
                <a:uLnTx/>
                <a:uFillTx/>
                <a:latin typeface="Segoe UI"/>
                <a:ea typeface="+mn-ea"/>
                <a:cs typeface="+mn-cs"/>
              </a:rPr>
              <a:t>– During the hands-on exercise, attendees can be guided to build an agent with web-grounding. Demo content has been provided in this instance</a:t>
            </a:r>
            <a:r>
              <a:rPr lang="en-US" sz="1800" dirty="0"/>
              <a:t>.</a:t>
            </a:r>
            <a:endParaRPr lang="en-US" sz="1800" b="0" i="0" u="none" strike="noStrike" kern="0" cap="none" spc="0" normalizeH="0" baseline="0" noProof="0" dirty="0">
              <a:ln>
                <a:noFill/>
              </a:ln>
              <a:solidFill>
                <a:prstClr val="black"/>
              </a:solidFill>
              <a:effectLst/>
              <a:uLnTx/>
              <a:uFillTx/>
              <a:latin typeface="Segoe UI"/>
              <a:cs typeface="Segoe UI"/>
            </a:endParaRPr>
          </a:p>
          <a:p>
            <a:pPr marL="320675" marR="0" lvl="0" indent="-19812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800" b="0" i="0" u="none" strike="noStrike" kern="0" cap="none" spc="0" normalizeH="0" baseline="0" noProof="0" dirty="0">
                <a:ln>
                  <a:noFill/>
                </a:ln>
                <a:effectLst/>
                <a:uLnTx/>
                <a:uFillTx/>
                <a:latin typeface="Segoe UI Semibold"/>
                <a:ea typeface="+mn-ea"/>
                <a:cs typeface="+mn-cs"/>
              </a:rPr>
              <a:t>Team hackathon and presentation </a:t>
            </a:r>
            <a:r>
              <a:rPr kumimoji="0" lang="en-US" sz="1800" b="0" i="0" u="none" strike="noStrike" kern="0" cap="none" spc="0" normalizeH="0" baseline="0" noProof="0" dirty="0">
                <a:ln>
                  <a:noFill/>
                </a:ln>
                <a:effectLst/>
                <a:uLnTx/>
                <a:uFillTx/>
                <a:latin typeface="Segoe UI"/>
                <a:ea typeface="+mn-ea"/>
                <a:cs typeface="+mn-cs"/>
              </a:rPr>
              <a:t>– Participants are not required to create an agent</a:t>
            </a:r>
            <a:endParaRPr lang="en-US" sz="1800" b="0" i="0" u="none" strike="noStrike" kern="0" cap="none" spc="0" normalizeH="0" baseline="0" noProof="0" dirty="0">
              <a:ln>
                <a:noFill/>
              </a:ln>
              <a:effectLst/>
              <a:uLnTx/>
              <a:uFillTx/>
              <a:latin typeface="Segoe UI"/>
              <a:cs typeface="Segoe UI"/>
            </a:endParaRPr>
          </a:p>
          <a:p>
            <a:pPr marL="647700" indent="-220345">
              <a:spcAft>
                <a:spcPts val="1200"/>
              </a:spcAft>
              <a:buFont typeface="Century Gothic" panose="020B0502020202020204" pitchFamily="34" charset="0"/>
              <a:buChar char="–"/>
              <a:defRPr/>
            </a:pPr>
            <a:r>
              <a:rPr kumimoji="0" lang="en-US" sz="1600" b="0" i="0" u="none" strike="noStrike" kern="0" cap="none" spc="0" normalizeH="0" baseline="0" noProof="0" dirty="0">
                <a:ln>
                  <a:noFill/>
                </a:ln>
                <a:effectLst/>
                <a:uLnTx/>
                <a:uFillTx/>
                <a:latin typeface="Segoe UI"/>
                <a:ea typeface="+mn-ea"/>
                <a:cs typeface="+mn-cs"/>
              </a:rPr>
              <a:t>For the exercise which requires them to use Researcher, recommend that they leverage Copilot Chat </a:t>
            </a:r>
            <a:r>
              <a:rPr lang="en-US" sz="1600" dirty="0"/>
              <a:t>to</a:t>
            </a:r>
            <a:r>
              <a:rPr kumimoji="0" lang="en-US" sz="1600" b="0" i="0" u="none" strike="noStrike" kern="0" cap="none" spc="0" normalizeH="0" baseline="0" noProof="0" dirty="0">
                <a:ln>
                  <a:noFill/>
                </a:ln>
                <a:effectLst/>
                <a:uLnTx/>
                <a:uFillTx/>
                <a:latin typeface="Segoe UI"/>
                <a:ea typeface="+mn-ea"/>
                <a:cs typeface="+mn-cs"/>
              </a:rPr>
              <a:t> run the same prompts and complete the hackathon exercise and complete the templates</a:t>
            </a:r>
            <a:endParaRPr lang="en-US" sz="1600" b="0" i="0" u="none" strike="noStrike" kern="0" cap="none" spc="0" normalizeH="0" baseline="0" noProof="0" dirty="0">
              <a:ln>
                <a:noFill/>
              </a:ln>
              <a:effectLst/>
              <a:uLnTx/>
              <a:uFillTx/>
              <a:latin typeface="Segoe UI"/>
              <a:cs typeface="Segoe UI"/>
            </a:endParaRPr>
          </a:p>
          <a:p>
            <a:pPr marL="647700" marR="0" lvl="0" indent="-220345" algn="l" defTabSz="914400" rtl="0" eaLnBrk="1" fontAlgn="auto" latinLnBrk="0" hangingPunct="1">
              <a:lnSpc>
                <a:spcPct val="100000"/>
              </a:lnSpc>
              <a:spcBef>
                <a:spcPts val="0"/>
              </a:spcBef>
              <a:spcAft>
                <a:spcPts val="1200"/>
              </a:spcAft>
              <a:buClrTx/>
              <a:buSzTx/>
              <a:buFont typeface="Century Gothic" panose="020B0502020202020204" pitchFamily="34" charset="0"/>
              <a:buChar char="–"/>
              <a:tabLst/>
              <a:defRPr/>
            </a:pPr>
            <a:r>
              <a:rPr kumimoji="0" lang="en-US" sz="1600" b="0" i="0" u="none" strike="noStrike" kern="0" cap="none" spc="0" normalizeH="0" baseline="0" noProof="0" dirty="0">
                <a:ln>
                  <a:noFill/>
                </a:ln>
                <a:effectLst/>
                <a:uLnTx/>
                <a:uFillTx/>
                <a:latin typeface="Segoe UI"/>
                <a:ea typeface="+mn-ea"/>
                <a:cs typeface="+mn-cs"/>
              </a:rPr>
              <a:t>They can be asked to fill out the template (which is the primary exercise) and present it. They can also be encouraged to create a video about it leveraging Copilot</a:t>
            </a:r>
            <a:r>
              <a:rPr lang="en-US" sz="1600" dirty="0"/>
              <a:t>.</a:t>
            </a:r>
            <a:endParaRPr lang="en-US" sz="1600" b="0" i="0" u="none" strike="noStrike" kern="0" cap="none" spc="0" normalizeH="0" baseline="0" noProof="0" dirty="0">
              <a:ln>
                <a:noFill/>
              </a:ln>
              <a:effectLst/>
              <a:uLnTx/>
              <a:uFillTx/>
              <a:latin typeface="Segoe UI"/>
              <a:cs typeface="Segoe UI"/>
            </a:endParaRPr>
          </a:p>
        </p:txBody>
      </p:sp>
    </p:spTree>
    <p:extLst>
      <p:ext uri="{BB962C8B-B14F-4D97-AF65-F5344CB8AC3E}">
        <p14:creationId xmlns:p14="http://schemas.microsoft.com/office/powerpoint/2010/main" val="2199544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a:extLst>
            <a:ext uri="{FF2B5EF4-FFF2-40B4-BE49-F238E27FC236}">
              <a16:creationId xmlns:a16="http://schemas.microsoft.com/office/drawing/2014/main" id="{BC3E651F-D55E-9C85-E9A8-AFD05401FB4B}"/>
            </a:ext>
          </a:extLst>
        </p:cNvPr>
        <p:cNvGrpSpPr/>
        <p:nvPr/>
      </p:nvGrpSpPr>
      <p:grpSpPr>
        <a:xfrm>
          <a:off x="0" y="0"/>
          <a:ext cx="0" cy="0"/>
          <a:chOff x="0" y="0"/>
          <a:chExt cx="0" cy="0"/>
        </a:xfrm>
      </p:grpSpPr>
      <p:pic>
        <p:nvPicPr>
          <p:cNvPr id="106" name="Picture 105">
            <a:extLst>
              <a:ext uri="{FF2B5EF4-FFF2-40B4-BE49-F238E27FC236}">
                <a16:creationId xmlns:a16="http://schemas.microsoft.com/office/drawing/2014/main" id="{64341547-7CC2-17CF-BC49-31ADB8C7D073}"/>
              </a:ext>
              <a:ext uri="{C183D7F6-B498-43B3-948B-1728B52AA6E4}">
                <adec:decorative xmlns:adec="http://schemas.microsoft.com/office/drawing/2017/decorative" val="1"/>
              </a:ext>
            </a:extLst>
          </p:cNvPr>
          <p:cNvPicPr>
            <a:picLocks noChangeAspect="1"/>
          </p:cNvPicPr>
          <p:nvPr/>
        </p:nvPicPr>
        <p:blipFill>
          <a:blip r:embed="rId4" cstate="screen">
            <a:extLst>
              <a:ext uri="{28A0092B-C50C-407E-A947-70E740481C1C}">
                <a14:useLocalDpi xmlns:a14="http://schemas.microsoft.com/office/drawing/2010/main"/>
              </a:ext>
            </a:extLst>
          </a:blip>
          <a:srcRect/>
          <a:stretch>
            <a:fillRect/>
          </a:stretch>
        </p:blipFill>
        <p:spPr>
          <a:xfrm>
            <a:off x="8564811" y="0"/>
            <a:ext cx="3627189" cy="2380343"/>
          </a:xfrm>
          <a:prstGeom prst="rect">
            <a:avLst/>
          </a:prstGeom>
        </p:spPr>
      </p:pic>
      <p:sp>
        <p:nvSpPr>
          <p:cNvPr id="46" name="Rectangle: Rounded Corners 50">
            <a:extLst>
              <a:ext uri="{FF2B5EF4-FFF2-40B4-BE49-F238E27FC236}">
                <a16:creationId xmlns:a16="http://schemas.microsoft.com/office/drawing/2014/main" id="{B7862EBB-9323-9007-9557-9EBBE3D4A4A0}"/>
              </a:ext>
              <a:ext uri="{C183D7F6-B498-43B3-948B-1728B52AA6E4}">
                <adec:decorative xmlns:adec="http://schemas.microsoft.com/office/drawing/2017/decorative" val="1"/>
              </a:ext>
            </a:extLst>
          </p:cNvPr>
          <p:cNvSpPr>
            <a:spLocks/>
          </p:cNvSpPr>
          <p:nvPr/>
        </p:nvSpPr>
        <p:spPr bwMode="auto">
          <a:xfrm>
            <a:off x="495187" y="2539773"/>
            <a:ext cx="5524976" cy="3151937"/>
          </a:xfrm>
          <a:prstGeom prst="roundRect">
            <a:avLst>
              <a:gd name="adj" fmla="val 3527"/>
            </a:avLst>
          </a:prstGeom>
          <a:solidFill>
            <a:schemeClr val="bg1"/>
          </a:solidFill>
          <a:ln>
            <a:noFill/>
          </a:ln>
          <a:effectLst>
            <a:outerShdw blurRad="228600" dist="63500" dir="2700000" algn="tl" rotWithShape="0">
              <a:prstClr val="black">
                <a:alpha val="1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base" latinLnBrk="0" hangingPunct="1">
              <a:lnSpc>
                <a:spcPct val="100000"/>
              </a:lnSpc>
              <a:spcBef>
                <a:spcPct val="0"/>
              </a:spcBef>
              <a:spcAft>
                <a:spcPts val="1200"/>
              </a:spcAft>
              <a:buClrTx/>
              <a:buSzTx/>
              <a:buFontTx/>
              <a:buNone/>
              <a:tabLst>
                <a:tab pos="457200" algn="l"/>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47" name="Rectangle: Rounded Corners 50">
            <a:extLst>
              <a:ext uri="{FF2B5EF4-FFF2-40B4-BE49-F238E27FC236}">
                <a16:creationId xmlns:a16="http://schemas.microsoft.com/office/drawing/2014/main" id="{E13F9A72-DF7C-82F9-2A0A-5D07389729AA}"/>
              </a:ext>
              <a:ext uri="{C183D7F6-B498-43B3-948B-1728B52AA6E4}">
                <adec:decorative xmlns:adec="http://schemas.microsoft.com/office/drawing/2017/decorative" val="1"/>
              </a:ext>
            </a:extLst>
          </p:cNvPr>
          <p:cNvSpPr>
            <a:spLocks/>
          </p:cNvSpPr>
          <p:nvPr/>
        </p:nvSpPr>
        <p:spPr bwMode="auto">
          <a:xfrm>
            <a:off x="6157323" y="2539774"/>
            <a:ext cx="5524976" cy="3151936"/>
          </a:xfrm>
          <a:prstGeom prst="roundRect">
            <a:avLst>
              <a:gd name="adj" fmla="val 3527"/>
            </a:avLst>
          </a:prstGeom>
          <a:solidFill>
            <a:schemeClr val="bg1"/>
          </a:solidFill>
          <a:ln>
            <a:noFill/>
          </a:ln>
          <a:effectLst>
            <a:outerShdw blurRad="228600" dist="63500" dir="2700000" algn="tl" rotWithShape="0">
              <a:prstClr val="black">
                <a:alpha val="1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base" latinLnBrk="0" hangingPunct="1">
              <a:lnSpc>
                <a:spcPct val="100000"/>
              </a:lnSpc>
              <a:spcBef>
                <a:spcPct val="0"/>
              </a:spcBef>
              <a:spcAft>
                <a:spcPts val="1200"/>
              </a:spcAft>
              <a:buClrTx/>
              <a:buSzTx/>
              <a:buFontTx/>
              <a:buNone/>
              <a:tabLst>
                <a:tab pos="457200" algn="l"/>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cxnSp>
        <p:nvCxnSpPr>
          <p:cNvPr id="75" name="Straight Connector 74">
            <a:extLst>
              <a:ext uri="{FF2B5EF4-FFF2-40B4-BE49-F238E27FC236}">
                <a16:creationId xmlns:a16="http://schemas.microsoft.com/office/drawing/2014/main" id="{D544C918-3EF6-8ECD-A114-75997C168664}"/>
              </a:ext>
              <a:ext uri="{C183D7F6-B498-43B3-948B-1728B52AA6E4}">
                <adec:decorative xmlns:adec="http://schemas.microsoft.com/office/drawing/2017/decorative" val="1"/>
              </a:ext>
            </a:extLst>
          </p:cNvPr>
          <p:cNvCxnSpPr>
            <a:cxnSpLocks/>
          </p:cNvCxnSpPr>
          <p:nvPr/>
        </p:nvCxnSpPr>
        <p:spPr>
          <a:xfrm>
            <a:off x="1522748" y="3613765"/>
            <a:ext cx="4251101" cy="0"/>
          </a:xfrm>
          <a:prstGeom prst="line">
            <a:avLst/>
          </a:prstGeom>
          <a:ln w="12700">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76" name="Straight Connector 75">
            <a:extLst>
              <a:ext uri="{FF2B5EF4-FFF2-40B4-BE49-F238E27FC236}">
                <a16:creationId xmlns:a16="http://schemas.microsoft.com/office/drawing/2014/main" id="{5ACD6DB6-2516-8151-7E6E-36159FFF264A}"/>
              </a:ext>
              <a:ext uri="{C183D7F6-B498-43B3-948B-1728B52AA6E4}">
                <adec:decorative xmlns:adec="http://schemas.microsoft.com/office/drawing/2017/decorative" val="1"/>
              </a:ext>
            </a:extLst>
          </p:cNvPr>
          <p:cNvCxnSpPr>
            <a:cxnSpLocks/>
          </p:cNvCxnSpPr>
          <p:nvPr/>
        </p:nvCxnSpPr>
        <p:spPr>
          <a:xfrm>
            <a:off x="1522748" y="4570420"/>
            <a:ext cx="4251101" cy="0"/>
          </a:xfrm>
          <a:prstGeom prst="line">
            <a:avLst/>
          </a:prstGeom>
          <a:ln w="12700">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90" name="Straight Connector 89">
            <a:extLst>
              <a:ext uri="{FF2B5EF4-FFF2-40B4-BE49-F238E27FC236}">
                <a16:creationId xmlns:a16="http://schemas.microsoft.com/office/drawing/2014/main" id="{79401D1D-5FB5-71DC-3D03-AD28BE79EAB1}"/>
              </a:ext>
              <a:ext uri="{C183D7F6-B498-43B3-948B-1728B52AA6E4}">
                <adec:decorative xmlns:adec="http://schemas.microsoft.com/office/drawing/2017/decorative" val="1"/>
              </a:ext>
            </a:extLst>
          </p:cNvPr>
          <p:cNvCxnSpPr>
            <a:cxnSpLocks/>
          </p:cNvCxnSpPr>
          <p:nvPr/>
        </p:nvCxnSpPr>
        <p:spPr>
          <a:xfrm>
            <a:off x="7184884" y="3555546"/>
            <a:ext cx="4251101" cy="0"/>
          </a:xfrm>
          <a:prstGeom prst="line">
            <a:avLst/>
          </a:prstGeom>
          <a:ln w="12700">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91" name="Straight Connector 90">
            <a:extLst>
              <a:ext uri="{FF2B5EF4-FFF2-40B4-BE49-F238E27FC236}">
                <a16:creationId xmlns:a16="http://schemas.microsoft.com/office/drawing/2014/main" id="{19EAA5F4-2BDE-00EC-01D1-BA4A7524BF89}"/>
              </a:ext>
              <a:ext uri="{C183D7F6-B498-43B3-948B-1728B52AA6E4}">
                <adec:decorative xmlns:adec="http://schemas.microsoft.com/office/drawing/2017/decorative" val="1"/>
              </a:ext>
            </a:extLst>
          </p:cNvPr>
          <p:cNvCxnSpPr>
            <a:cxnSpLocks/>
          </p:cNvCxnSpPr>
          <p:nvPr/>
        </p:nvCxnSpPr>
        <p:spPr>
          <a:xfrm>
            <a:off x="7184884" y="4528835"/>
            <a:ext cx="4251101" cy="0"/>
          </a:xfrm>
          <a:prstGeom prst="line">
            <a:avLst/>
          </a:prstGeom>
          <a:ln w="12700">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127" name="Group 126">
            <a:extLst>
              <a:ext uri="{FF2B5EF4-FFF2-40B4-BE49-F238E27FC236}">
                <a16:creationId xmlns:a16="http://schemas.microsoft.com/office/drawing/2014/main" id="{659BFA15-605D-1B92-11ED-02FAB04BEADC}"/>
              </a:ext>
              <a:ext uri="{C183D7F6-B498-43B3-948B-1728B52AA6E4}">
                <adec:decorative xmlns:adec="http://schemas.microsoft.com/office/drawing/2017/decorative" val="1"/>
              </a:ext>
            </a:extLst>
          </p:cNvPr>
          <p:cNvGrpSpPr/>
          <p:nvPr/>
        </p:nvGrpSpPr>
        <p:grpSpPr>
          <a:xfrm>
            <a:off x="756015" y="2827661"/>
            <a:ext cx="549017" cy="549017"/>
            <a:chOff x="756015" y="1673775"/>
            <a:chExt cx="549017" cy="549017"/>
          </a:xfrm>
        </p:grpSpPr>
        <p:sp>
          <p:nvSpPr>
            <p:cNvPr id="3" name="Oval 2">
              <a:extLst>
                <a:ext uri="{FF2B5EF4-FFF2-40B4-BE49-F238E27FC236}">
                  <a16:creationId xmlns:a16="http://schemas.microsoft.com/office/drawing/2014/main" id="{9BBFC51E-11CA-8133-12C2-20F1F92F381D}"/>
                </a:ext>
              </a:extLst>
            </p:cNvPr>
            <p:cNvSpPr>
              <a:spLocks/>
            </p:cNvSpPr>
            <p:nvPr/>
          </p:nvSpPr>
          <p:spPr bwMode="auto">
            <a:xfrm>
              <a:off x="756015" y="1673775"/>
              <a:ext cx="549017" cy="549017"/>
            </a:xfrm>
            <a:prstGeom prst="ellipse">
              <a:avLst/>
            </a:prstGeom>
            <a:solidFill>
              <a:schemeClr val="bg1"/>
            </a:solidFill>
            <a:ln w="19050">
              <a:gradFill>
                <a:gsLst>
                  <a:gs pos="100000">
                    <a:srgbClr val="C03BC4"/>
                  </a:gs>
                  <a:gs pos="0">
                    <a:srgbClr val="0078D4"/>
                  </a:gs>
                </a:gsLst>
                <a:lin ang="0" scaled="0"/>
              </a:gradFill>
            </a:ln>
            <a:effectLst>
              <a:outerShdw blurRad="177800" dist="25400" algn="tl" rotWithShape="0">
                <a:prstClr val="black">
                  <a:alpha val="5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07" name="Graphic 43" descr="Icon of a magnifying glass">
              <a:extLst>
                <a:ext uri="{FF2B5EF4-FFF2-40B4-BE49-F238E27FC236}">
                  <a16:creationId xmlns:a16="http://schemas.microsoft.com/office/drawing/2014/main" id="{8F63D23B-C50F-AEA5-FB99-093128B62CBE}"/>
                </a:ext>
              </a:extLst>
            </p:cNvPr>
            <p:cNvSpPr>
              <a:spLocks noChangeAspect="1"/>
            </p:cNvSpPr>
            <p:nvPr/>
          </p:nvSpPr>
          <p:spPr>
            <a:xfrm>
              <a:off x="894233" y="1811993"/>
              <a:ext cx="272580" cy="272580"/>
            </a:xfrm>
            <a:custGeom>
              <a:avLst/>
              <a:gdLst>
                <a:gd name="connsiteX0" fmla="*/ 110490 w 274319"/>
                <a:gd name="connsiteY0" fmla="*/ 0 h 274319"/>
                <a:gd name="connsiteX1" fmla="*/ 220980 w 274319"/>
                <a:gd name="connsiteY1" fmla="*/ 110490 h 274319"/>
                <a:gd name="connsiteX2" fmla="*/ 196284 w 274319"/>
                <a:gd name="connsiteY2" fmla="*/ 180119 h 274319"/>
                <a:gd name="connsiteX3" fmla="*/ 270972 w 274319"/>
                <a:gd name="connsiteY3" fmla="*/ 254808 h 274319"/>
                <a:gd name="connsiteX4" fmla="*/ 270972 w 274319"/>
                <a:gd name="connsiteY4" fmla="*/ 270972 h 274319"/>
                <a:gd name="connsiteX5" fmla="*/ 256090 w 274319"/>
                <a:gd name="connsiteY5" fmla="*/ 272078 h 274319"/>
                <a:gd name="connsiteX6" fmla="*/ 254808 w 274319"/>
                <a:gd name="connsiteY6" fmla="*/ 270972 h 274319"/>
                <a:gd name="connsiteX7" fmla="*/ 180119 w 274319"/>
                <a:gd name="connsiteY7" fmla="*/ 196284 h 274319"/>
                <a:gd name="connsiteX8" fmla="*/ 110490 w 274319"/>
                <a:gd name="connsiteY8" fmla="*/ 220980 h 274319"/>
                <a:gd name="connsiteX9" fmla="*/ 0 w 274319"/>
                <a:gd name="connsiteY9" fmla="*/ 110490 h 274319"/>
                <a:gd name="connsiteX10" fmla="*/ 110490 w 274319"/>
                <a:gd name="connsiteY10" fmla="*/ 0 h 274319"/>
                <a:gd name="connsiteX11" fmla="*/ 110490 w 274319"/>
                <a:gd name="connsiteY11" fmla="*/ 22860 h 274319"/>
                <a:gd name="connsiteX12" fmla="*/ 22860 w 274319"/>
                <a:gd name="connsiteY12" fmla="*/ 110490 h 274319"/>
                <a:gd name="connsiteX13" fmla="*/ 110490 w 274319"/>
                <a:gd name="connsiteY13" fmla="*/ 198120 h 274319"/>
                <a:gd name="connsiteX14" fmla="*/ 198120 w 274319"/>
                <a:gd name="connsiteY14" fmla="*/ 110490 h 274319"/>
                <a:gd name="connsiteX15" fmla="*/ 110490 w 274319"/>
                <a:gd name="connsiteY15" fmla="*/ 22860 h 2743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74319" h="274319">
                  <a:moveTo>
                    <a:pt x="110490" y="0"/>
                  </a:moveTo>
                  <a:cubicBezTo>
                    <a:pt x="171512" y="0"/>
                    <a:pt x="220980" y="49468"/>
                    <a:pt x="220980" y="110490"/>
                  </a:cubicBezTo>
                  <a:cubicBezTo>
                    <a:pt x="220980" y="136884"/>
                    <a:pt x="211725" y="161116"/>
                    <a:pt x="196284" y="180119"/>
                  </a:cubicBezTo>
                  <a:lnTo>
                    <a:pt x="270972" y="254808"/>
                  </a:lnTo>
                  <a:cubicBezTo>
                    <a:pt x="275436" y="259272"/>
                    <a:pt x="275436" y="266508"/>
                    <a:pt x="270972" y="270972"/>
                  </a:cubicBezTo>
                  <a:cubicBezTo>
                    <a:pt x="266915" y="275030"/>
                    <a:pt x="260564" y="275399"/>
                    <a:pt x="256090" y="272078"/>
                  </a:cubicBezTo>
                  <a:lnTo>
                    <a:pt x="254808" y="270972"/>
                  </a:lnTo>
                  <a:lnTo>
                    <a:pt x="180119" y="196284"/>
                  </a:lnTo>
                  <a:cubicBezTo>
                    <a:pt x="161116" y="211725"/>
                    <a:pt x="136884" y="220980"/>
                    <a:pt x="110490" y="220980"/>
                  </a:cubicBezTo>
                  <a:cubicBezTo>
                    <a:pt x="49468" y="220980"/>
                    <a:pt x="0" y="171512"/>
                    <a:pt x="0" y="110490"/>
                  </a:cubicBezTo>
                  <a:cubicBezTo>
                    <a:pt x="0" y="49468"/>
                    <a:pt x="49468" y="0"/>
                    <a:pt x="110490" y="0"/>
                  </a:cubicBezTo>
                  <a:close/>
                  <a:moveTo>
                    <a:pt x="110490" y="22860"/>
                  </a:moveTo>
                  <a:cubicBezTo>
                    <a:pt x="62093" y="22860"/>
                    <a:pt x="22860" y="62093"/>
                    <a:pt x="22860" y="110490"/>
                  </a:cubicBezTo>
                  <a:cubicBezTo>
                    <a:pt x="22860" y="158886"/>
                    <a:pt x="62093" y="198120"/>
                    <a:pt x="110490" y="198120"/>
                  </a:cubicBezTo>
                  <a:cubicBezTo>
                    <a:pt x="158886" y="198120"/>
                    <a:pt x="198120" y="158886"/>
                    <a:pt x="198120" y="110490"/>
                  </a:cubicBezTo>
                  <a:cubicBezTo>
                    <a:pt x="198120" y="62093"/>
                    <a:pt x="158886" y="22860"/>
                    <a:pt x="110490" y="22860"/>
                  </a:cubicBezTo>
                  <a:close/>
                </a:path>
              </a:pathLst>
            </a:custGeom>
            <a:gradFill flip="none" rotWithShape="1">
              <a:gsLst>
                <a:gs pos="0">
                  <a:srgbClr val="0078D4"/>
                </a:gs>
                <a:gs pos="100000">
                  <a:srgbClr val="C53FCC"/>
                </a:gs>
              </a:gsLst>
              <a:lin ang="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lIns="704088" tIns="45720" rIns="91440" bIns="45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white"/>
                </a:solidFill>
                <a:effectLst/>
                <a:uLnTx/>
                <a:uFillTx/>
                <a:latin typeface="Segoe UI Semibold"/>
                <a:ea typeface="+mn-ea"/>
                <a:cs typeface="+mn-cs"/>
              </a:endParaRPr>
            </a:p>
          </p:txBody>
        </p:sp>
      </p:grpSp>
      <p:grpSp>
        <p:nvGrpSpPr>
          <p:cNvPr id="128" name="Group 127">
            <a:extLst>
              <a:ext uri="{FF2B5EF4-FFF2-40B4-BE49-F238E27FC236}">
                <a16:creationId xmlns:a16="http://schemas.microsoft.com/office/drawing/2014/main" id="{141D40E8-FFDF-E29C-3020-97E0C63E934D}"/>
              </a:ext>
              <a:ext uri="{C183D7F6-B498-43B3-948B-1728B52AA6E4}">
                <adec:decorative xmlns:adec="http://schemas.microsoft.com/office/drawing/2017/decorative" val="1"/>
              </a:ext>
            </a:extLst>
          </p:cNvPr>
          <p:cNvGrpSpPr/>
          <p:nvPr/>
        </p:nvGrpSpPr>
        <p:grpSpPr>
          <a:xfrm>
            <a:off x="756015" y="3817584"/>
            <a:ext cx="549017" cy="549017"/>
            <a:chOff x="756015" y="2663698"/>
            <a:chExt cx="549017" cy="549017"/>
          </a:xfrm>
        </p:grpSpPr>
        <p:sp>
          <p:nvSpPr>
            <p:cNvPr id="4" name="Oval 3">
              <a:extLst>
                <a:ext uri="{FF2B5EF4-FFF2-40B4-BE49-F238E27FC236}">
                  <a16:creationId xmlns:a16="http://schemas.microsoft.com/office/drawing/2014/main" id="{CA624C74-C5DE-D131-1C39-A943CC2EA9CD}"/>
                </a:ext>
              </a:extLst>
            </p:cNvPr>
            <p:cNvSpPr>
              <a:spLocks/>
            </p:cNvSpPr>
            <p:nvPr/>
          </p:nvSpPr>
          <p:spPr bwMode="auto">
            <a:xfrm>
              <a:off x="756015" y="2663698"/>
              <a:ext cx="549017" cy="549017"/>
            </a:xfrm>
            <a:prstGeom prst="ellipse">
              <a:avLst/>
            </a:prstGeom>
            <a:solidFill>
              <a:schemeClr val="bg1"/>
            </a:solidFill>
            <a:ln w="19050">
              <a:gradFill>
                <a:gsLst>
                  <a:gs pos="100000">
                    <a:srgbClr val="C03BC4"/>
                  </a:gs>
                  <a:gs pos="0">
                    <a:srgbClr val="0078D4"/>
                  </a:gs>
                </a:gsLst>
                <a:lin ang="0" scaled="0"/>
              </a:gradFill>
            </a:ln>
            <a:effectLst>
              <a:outerShdw blurRad="177800" dist="25400" algn="tl" rotWithShape="0">
                <a:prstClr val="black">
                  <a:alpha val="5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08" name="Graphic 120" descr="Icon of an arrow hitting the bullseye">
              <a:extLst>
                <a:ext uri="{FF2B5EF4-FFF2-40B4-BE49-F238E27FC236}">
                  <a16:creationId xmlns:a16="http://schemas.microsoft.com/office/drawing/2014/main" id="{FB56BFDE-ECDB-9B67-9E8D-2C39AC9F3CAA}"/>
                </a:ext>
              </a:extLst>
            </p:cNvPr>
            <p:cNvSpPr>
              <a:spLocks noChangeAspect="1"/>
            </p:cNvSpPr>
            <p:nvPr/>
          </p:nvSpPr>
          <p:spPr>
            <a:xfrm>
              <a:off x="893363" y="2801046"/>
              <a:ext cx="274320" cy="274320"/>
            </a:xfrm>
            <a:custGeom>
              <a:avLst/>
              <a:gdLst>
                <a:gd name="connsiteX0" fmla="*/ 95269 w 190538"/>
                <a:gd name="connsiteY0" fmla="*/ 0 h 190538"/>
                <a:gd name="connsiteX1" fmla="*/ 127911 w 190538"/>
                <a:gd name="connsiteY1" fmla="*/ 5734 h 190538"/>
                <a:gd name="connsiteX2" fmla="*/ 116529 w 190538"/>
                <a:gd name="connsiteY2" fmla="*/ 17107 h 190538"/>
                <a:gd name="connsiteX3" fmla="*/ 17136 w 190538"/>
                <a:gd name="connsiteY3" fmla="*/ 74002 h 190538"/>
                <a:gd name="connsiteX4" fmla="*/ 74031 w 190538"/>
                <a:gd name="connsiteY4" fmla="*/ 173395 h 190538"/>
                <a:gd name="connsiteX5" fmla="*/ 173425 w 190538"/>
                <a:gd name="connsiteY5" fmla="*/ 116500 h 190538"/>
                <a:gd name="connsiteX6" fmla="*/ 173431 w 190538"/>
                <a:gd name="connsiteY6" fmla="*/ 74028 h 190538"/>
                <a:gd name="connsiteX7" fmla="*/ 184804 w 190538"/>
                <a:gd name="connsiteY7" fmla="*/ 62655 h 190538"/>
                <a:gd name="connsiteX8" fmla="*/ 190538 w 190538"/>
                <a:gd name="connsiteY8" fmla="*/ 95269 h 190538"/>
                <a:gd name="connsiteX9" fmla="*/ 95269 w 190538"/>
                <a:gd name="connsiteY9" fmla="*/ 190538 h 190538"/>
                <a:gd name="connsiteX10" fmla="*/ 0 w 190538"/>
                <a:gd name="connsiteY10" fmla="*/ 95269 h 190538"/>
                <a:gd name="connsiteX11" fmla="*/ 95269 w 190538"/>
                <a:gd name="connsiteY11" fmla="*/ 0 h 190538"/>
                <a:gd name="connsiteX12" fmla="*/ 95269 w 190538"/>
                <a:gd name="connsiteY12" fmla="*/ 38119 h 190538"/>
                <a:gd name="connsiteX13" fmla="*/ 109576 w 190538"/>
                <a:gd name="connsiteY13" fmla="*/ 39929 h 190538"/>
                <a:gd name="connsiteX14" fmla="*/ 109576 w 190538"/>
                <a:gd name="connsiteY14" fmla="*/ 54854 h 190538"/>
                <a:gd name="connsiteX15" fmla="*/ 54872 w 190538"/>
                <a:gd name="connsiteY15" fmla="*/ 80967 h 190538"/>
                <a:gd name="connsiteX16" fmla="*/ 80983 w 190538"/>
                <a:gd name="connsiteY16" fmla="*/ 135671 h 190538"/>
                <a:gd name="connsiteX17" fmla="*/ 135688 w 190538"/>
                <a:gd name="connsiteY17" fmla="*/ 109558 h 190538"/>
                <a:gd name="connsiteX18" fmla="*/ 135693 w 190538"/>
                <a:gd name="connsiteY18" fmla="*/ 80982 h 190538"/>
                <a:gd name="connsiteX19" fmla="*/ 150619 w 190538"/>
                <a:gd name="connsiteY19" fmla="*/ 80982 h 190538"/>
                <a:gd name="connsiteX20" fmla="*/ 109571 w 190538"/>
                <a:gd name="connsiteY20" fmla="*/ 150605 h 190538"/>
                <a:gd name="connsiteX21" fmla="*/ 39948 w 190538"/>
                <a:gd name="connsiteY21" fmla="*/ 109557 h 190538"/>
                <a:gd name="connsiteX22" fmla="*/ 80996 w 190538"/>
                <a:gd name="connsiteY22" fmla="*/ 39934 h 190538"/>
                <a:gd name="connsiteX23" fmla="*/ 95288 w 190538"/>
                <a:gd name="connsiteY23" fmla="*/ 38119 h 190538"/>
                <a:gd name="connsiteX24" fmla="*/ 114319 w 190538"/>
                <a:gd name="connsiteY24" fmla="*/ 95269 h 190538"/>
                <a:gd name="connsiteX25" fmla="*/ 95263 w 190538"/>
                <a:gd name="connsiteY25" fmla="*/ 114313 h 190538"/>
                <a:gd name="connsiteX26" fmla="*/ 76219 w 190538"/>
                <a:gd name="connsiteY26" fmla="*/ 95257 h 190538"/>
                <a:gd name="connsiteX27" fmla="*/ 95275 w 190538"/>
                <a:gd name="connsiteY27" fmla="*/ 76213 h 190538"/>
                <a:gd name="connsiteX28" fmla="*/ 102727 w 190538"/>
                <a:gd name="connsiteY28" fmla="*/ 77734 h 190538"/>
                <a:gd name="connsiteX29" fmla="*/ 119110 w 190538"/>
                <a:gd name="connsiteY29" fmla="*/ 61351 h 190538"/>
                <a:gd name="connsiteX30" fmla="*/ 119101 w 190538"/>
                <a:gd name="connsiteY30" fmla="*/ 30975 h 190538"/>
                <a:gd name="connsiteX31" fmla="*/ 121196 w 190538"/>
                <a:gd name="connsiteY31" fmla="*/ 25927 h 190538"/>
                <a:gd name="connsiteX32" fmla="*/ 145009 w 190538"/>
                <a:gd name="connsiteY32" fmla="*/ 2115 h 190538"/>
                <a:gd name="connsiteX33" fmla="*/ 155112 w 190538"/>
                <a:gd name="connsiteY33" fmla="*/ 2121 h 190538"/>
                <a:gd name="connsiteX34" fmla="*/ 157201 w 190538"/>
                <a:gd name="connsiteY34" fmla="*/ 7163 h 190538"/>
                <a:gd name="connsiteX35" fmla="*/ 157201 w 190538"/>
                <a:gd name="connsiteY35" fmla="*/ 33357 h 190538"/>
                <a:gd name="connsiteX36" fmla="*/ 183394 w 190538"/>
                <a:gd name="connsiteY36" fmla="*/ 33357 h 190538"/>
                <a:gd name="connsiteX37" fmla="*/ 190531 w 190538"/>
                <a:gd name="connsiteY37" fmla="*/ 40507 h 190538"/>
                <a:gd name="connsiteX38" fmla="*/ 188443 w 190538"/>
                <a:gd name="connsiteY38" fmla="*/ 45549 h 190538"/>
                <a:gd name="connsiteX39" fmla="*/ 164630 w 190538"/>
                <a:gd name="connsiteY39" fmla="*/ 69361 h 190538"/>
                <a:gd name="connsiteX40" fmla="*/ 159582 w 190538"/>
                <a:gd name="connsiteY40" fmla="*/ 71457 h 190538"/>
                <a:gd name="connsiteX41" fmla="*/ 129197 w 190538"/>
                <a:gd name="connsiteY41" fmla="*/ 71457 h 190538"/>
                <a:gd name="connsiteX42" fmla="*/ 112814 w 190538"/>
                <a:gd name="connsiteY42" fmla="*/ 87840 h 190538"/>
                <a:gd name="connsiteX43" fmla="*/ 114319 w 190538"/>
                <a:gd name="connsiteY43" fmla="*/ 95269 h 190538"/>
                <a:gd name="connsiteX44" fmla="*/ 156620 w 190538"/>
                <a:gd name="connsiteY44" fmla="*/ 57169 h 190538"/>
                <a:gd name="connsiteX45" fmla="*/ 166145 w 190538"/>
                <a:gd name="connsiteY45" fmla="*/ 47644 h 190538"/>
                <a:gd name="connsiteX46" fmla="*/ 150047 w 190538"/>
                <a:gd name="connsiteY46" fmla="*/ 47644 h 190538"/>
                <a:gd name="connsiteX47" fmla="*/ 142904 w 190538"/>
                <a:gd name="connsiteY47" fmla="*/ 40500 h 190538"/>
                <a:gd name="connsiteX48" fmla="*/ 142904 w 190538"/>
                <a:gd name="connsiteY48" fmla="*/ 24403 h 190538"/>
                <a:gd name="connsiteX49" fmla="*/ 133388 w 190538"/>
                <a:gd name="connsiteY49" fmla="*/ 33928 h 190538"/>
                <a:gd name="connsiteX50" fmla="*/ 133388 w 190538"/>
                <a:gd name="connsiteY50" fmla="*/ 56607 h 190538"/>
                <a:gd name="connsiteX51" fmla="*/ 133960 w 190538"/>
                <a:gd name="connsiteY51" fmla="*/ 57169 h 190538"/>
                <a:gd name="connsiteX52" fmla="*/ 156629 w 190538"/>
                <a:gd name="connsiteY52" fmla="*/ 57169 h 1905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190538" h="190538">
                  <a:moveTo>
                    <a:pt x="95269" y="0"/>
                  </a:moveTo>
                  <a:cubicBezTo>
                    <a:pt x="106737" y="0"/>
                    <a:pt x="117729" y="2029"/>
                    <a:pt x="127911" y="5734"/>
                  </a:cubicBezTo>
                  <a:lnTo>
                    <a:pt x="116529" y="17107"/>
                  </a:lnTo>
                  <a:cubicBezTo>
                    <a:pt x="73371" y="5372"/>
                    <a:pt x="28871" y="30844"/>
                    <a:pt x="17136" y="74002"/>
                  </a:cubicBezTo>
                  <a:cubicBezTo>
                    <a:pt x="5400" y="117160"/>
                    <a:pt x="30873" y="161659"/>
                    <a:pt x="74031" y="173395"/>
                  </a:cubicBezTo>
                  <a:cubicBezTo>
                    <a:pt x="117189" y="185131"/>
                    <a:pt x="161689" y="159658"/>
                    <a:pt x="173425" y="116500"/>
                  </a:cubicBezTo>
                  <a:cubicBezTo>
                    <a:pt x="177205" y="102596"/>
                    <a:pt x="177208" y="87934"/>
                    <a:pt x="173431" y="74028"/>
                  </a:cubicBezTo>
                  <a:lnTo>
                    <a:pt x="184804" y="62655"/>
                  </a:lnTo>
                  <a:cubicBezTo>
                    <a:pt x="188608" y="73108"/>
                    <a:pt x="190549" y="84146"/>
                    <a:pt x="190538" y="95269"/>
                  </a:cubicBezTo>
                  <a:cubicBezTo>
                    <a:pt x="190538" y="147885"/>
                    <a:pt x="147885" y="190538"/>
                    <a:pt x="95269" y="190538"/>
                  </a:cubicBezTo>
                  <a:cubicBezTo>
                    <a:pt x="42653" y="190538"/>
                    <a:pt x="0" y="147885"/>
                    <a:pt x="0" y="95269"/>
                  </a:cubicBezTo>
                  <a:cubicBezTo>
                    <a:pt x="0" y="42653"/>
                    <a:pt x="42653" y="0"/>
                    <a:pt x="95269" y="0"/>
                  </a:cubicBezTo>
                  <a:close/>
                  <a:moveTo>
                    <a:pt x="95269" y="38119"/>
                  </a:moveTo>
                  <a:cubicBezTo>
                    <a:pt x="100095" y="38117"/>
                    <a:pt x="104902" y="38725"/>
                    <a:pt x="109576" y="39929"/>
                  </a:cubicBezTo>
                  <a:lnTo>
                    <a:pt x="109576" y="54854"/>
                  </a:lnTo>
                  <a:cubicBezTo>
                    <a:pt x="87259" y="46959"/>
                    <a:pt x="62767" y="58650"/>
                    <a:pt x="54872" y="80967"/>
                  </a:cubicBezTo>
                  <a:cubicBezTo>
                    <a:pt x="46976" y="103283"/>
                    <a:pt x="58667" y="127775"/>
                    <a:pt x="80983" y="135671"/>
                  </a:cubicBezTo>
                  <a:cubicBezTo>
                    <a:pt x="103301" y="143567"/>
                    <a:pt x="127792" y="131876"/>
                    <a:pt x="135688" y="109558"/>
                  </a:cubicBezTo>
                  <a:cubicBezTo>
                    <a:pt x="138958" y="100313"/>
                    <a:pt x="138960" y="90227"/>
                    <a:pt x="135693" y="80982"/>
                  </a:cubicBezTo>
                  <a:lnTo>
                    <a:pt x="150619" y="80982"/>
                  </a:lnTo>
                  <a:cubicBezTo>
                    <a:pt x="158509" y="111543"/>
                    <a:pt x="140132" y="142713"/>
                    <a:pt x="109571" y="150605"/>
                  </a:cubicBezTo>
                  <a:cubicBezTo>
                    <a:pt x="79010" y="158495"/>
                    <a:pt x="47839" y="140118"/>
                    <a:pt x="39948" y="109557"/>
                  </a:cubicBezTo>
                  <a:cubicBezTo>
                    <a:pt x="32058" y="78996"/>
                    <a:pt x="50435" y="47825"/>
                    <a:pt x="80996" y="39934"/>
                  </a:cubicBezTo>
                  <a:cubicBezTo>
                    <a:pt x="85664" y="38728"/>
                    <a:pt x="90467" y="38119"/>
                    <a:pt x="95288" y="38119"/>
                  </a:cubicBezTo>
                  <a:close/>
                  <a:moveTo>
                    <a:pt x="114319" y="95269"/>
                  </a:moveTo>
                  <a:cubicBezTo>
                    <a:pt x="114315" y="105790"/>
                    <a:pt x="105784" y="114316"/>
                    <a:pt x="95263" y="114313"/>
                  </a:cubicBezTo>
                  <a:cubicBezTo>
                    <a:pt x="84742" y="114310"/>
                    <a:pt x="76216" y="105778"/>
                    <a:pt x="76219" y="95257"/>
                  </a:cubicBezTo>
                  <a:cubicBezTo>
                    <a:pt x="76222" y="84735"/>
                    <a:pt x="84754" y="76210"/>
                    <a:pt x="95275" y="76213"/>
                  </a:cubicBezTo>
                  <a:cubicBezTo>
                    <a:pt x="97836" y="76214"/>
                    <a:pt x="100371" y="76731"/>
                    <a:pt x="102727" y="77734"/>
                  </a:cubicBezTo>
                  <a:lnTo>
                    <a:pt x="119110" y="61351"/>
                  </a:lnTo>
                  <a:lnTo>
                    <a:pt x="119101" y="30975"/>
                  </a:lnTo>
                  <a:cubicBezTo>
                    <a:pt x="119103" y="29081"/>
                    <a:pt x="119856" y="27266"/>
                    <a:pt x="121196" y="25927"/>
                  </a:cubicBezTo>
                  <a:lnTo>
                    <a:pt x="145009" y="2115"/>
                  </a:lnTo>
                  <a:cubicBezTo>
                    <a:pt x="147800" y="-674"/>
                    <a:pt x="152323" y="-671"/>
                    <a:pt x="155112" y="2121"/>
                  </a:cubicBezTo>
                  <a:cubicBezTo>
                    <a:pt x="156447" y="3459"/>
                    <a:pt x="157199" y="5272"/>
                    <a:pt x="157201" y="7163"/>
                  </a:cubicBezTo>
                  <a:lnTo>
                    <a:pt x="157201" y="33357"/>
                  </a:lnTo>
                  <a:lnTo>
                    <a:pt x="183394" y="33357"/>
                  </a:lnTo>
                  <a:cubicBezTo>
                    <a:pt x="187340" y="33360"/>
                    <a:pt x="190535" y="36561"/>
                    <a:pt x="190531" y="40507"/>
                  </a:cubicBezTo>
                  <a:cubicBezTo>
                    <a:pt x="190530" y="42397"/>
                    <a:pt x="189779" y="44211"/>
                    <a:pt x="188443" y="45549"/>
                  </a:cubicBezTo>
                  <a:lnTo>
                    <a:pt x="164630" y="69361"/>
                  </a:lnTo>
                  <a:cubicBezTo>
                    <a:pt x="163292" y="70701"/>
                    <a:pt x="161475" y="71455"/>
                    <a:pt x="159582" y="71457"/>
                  </a:cubicBezTo>
                  <a:lnTo>
                    <a:pt x="129197" y="71457"/>
                  </a:lnTo>
                  <a:lnTo>
                    <a:pt x="112814" y="87840"/>
                  </a:lnTo>
                  <a:cubicBezTo>
                    <a:pt x="113786" y="90126"/>
                    <a:pt x="114319" y="92631"/>
                    <a:pt x="114319" y="95269"/>
                  </a:cubicBezTo>
                  <a:close/>
                  <a:moveTo>
                    <a:pt x="156620" y="57169"/>
                  </a:moveTo>
                  <a:lnTo>
                    <a:pt x="166145" y="47644"/>
                  </a:lnTo>
                  <a:lnTo>
                    <a:pt x="150047" y="47644"/>
                  </a:lnTo>
                  <a:cubicBezTo>
                    <a:pt x="146102" y="47644"/>
                    <a:pt x="142904" y="44446"/>
                    <a:pt x="142904" y="40500"/>
                  </a:cubicBezTo>
                  <a:lnTo>
                    <a:pt x="142904" y="24403"/>
                  </a:lnTo>
                  <a:lnTo>
                    <a:pt x="133388" y="33928"/>
                  </a:lnTo>
                  <a:lnTo>
                    <a:pt x="133388" y="56607"/>
                  </a:lnTo>
                  <a:cubicBezTo>
                    <a:pt x="133590" y="56783"/>
                    <a:pt x="133781" y="56970"/>
                    <a:pt x="133960" y="57169"/>
                  </a:cubicBezTo>
                  <a:lnTo>
                    <a:pt x="156629" y="57169"/>
                  </a:lnTo>
                  <a:close/>
                </a:path>
              </a:pathLst>
            </a:custGeom>
            <a:gradFill flip="none" rotWithShape="1">
              <a:gsLst>
                <a:gs pos="0">
                  <a:srgbClr val="0078D4"/>
                </a:gs>
                <a:gs pos="100000">
                  <a:srgbClr val="C53FCC"/>
                </a:gs>
              </a:gsLst>
              <a:lin ang="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lIns="704088" tIns="45720" rIns="91440" bIns="45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white"/>
                </a:solidFill>
                <a:effectLst/>
                <a:uLnTx/>
                <a:uFillTx/>
                <a:latin typeface="Segoe UI Semibold"/>
                <a:ea typeface="+mn-ea"/>
                <a:cs typeface="+mn-cs"/>
              </a:endParaRPr>
            </a:p>
          </p:txBody>
        </p:sp>
      </p:grpSp>
      <p:grpSp>
        <p:nvGrpSpPr>
          <p:cNvPr id="129" name="Group 128">
            <a:extLst>
              <a:ext uri="{FF2B5EF4-FFF2-40B4-BE49-F238E27FC236}">
                <a16:creationId xmlns:a16="http://schemas.microsoft.com/office/drawing/2014/main" id="{E6AD320C-E746-2407-504F-073B185A3B83}"/>
              </a:ext>
              <a:ext uri="{C183D7F6-B498-43B3-948B-1728B52AA6E4}">
                <adec:decorative xmlns:adec="http://schemas.microsoft.com/office/drawing/2017/decorative" val="1"/>
              </a:ext>
            </a:extLst>
          </p:cNvPr>
          <p:cNvGrpSpPr/>
          <p:nvPr/>
        </p:nvGrpSpPr>
        <p:grpSpPr>
          <a:xfrm>
            <a:off x="756015" y="4774239"/>
            <a:ext cx="549017" cy="549017"/>
            <a:chOff x="756015" y="3620353"/>
            <a:chExt cx="549017" cy="549017"/>
          </a:xfrm>
        </p:grpSpPr>
        <p:sp>
          <p:nvSpPr>
            <p:cNvPr id="5" name="Oval 4">
              <a:extLst>
                <a:ext uri="{FF2B5EF4-FFF2-40B4-BE49-F238E27FC236}">
                  <a16:creationId xmlns:a16="http://schemas.microsoft.com/office/drawing/2014/main" id="{2D47C430-832B-314A-0907-3A86453412D8}"/>
                </a:ext>
              </a:extLst>
            </p:cNvPr>
            <p:cNvSpPr>
              <a:spLocks/>
            </p:cNvSpPr>
            <p:nvPr/>
          </p:nvSpPr>
          <p:spPr bwMode="auto">
            <a:xfrm>
              <a:off x="756015" y="3620353"/>
              <a:ext cx="549017" cy="549017"/>
            </a:xfrm>
            <a:prstGeom prst="ellipse">
              <a:avLst/>
            </a:prstGeom>
            <a:solidFill>
              <a:schemeClr val="bg1"/>
            </a:solidFill>
            <a:ln w="19050">
              <a:gradFill>
                <a:gsLst>
                  <a:gs pos="100000">
                    <a:srgbClr val="C03BC4"/>
                  </a:gs>
                  <a:gs pos="0">
                    <a:srgbClr val="0078D4"/>
                  </a:gs>
                </a:gsLst>
                <a:lin ang="0" scaled="0"/>
              </a:gradFill>
            </a:ln>
            <a:effectLst>
              <a:outerShdw blurRad="177800" dist="25400" algn="tl" rotWithShape="0">
                <a:prstClr val="black">
                  <a:alpha val="5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09" name="Graphic 123" descr="Icon of a calendar">
              <a:extLst>
                <a:ext uri="{FF2B5EF4-FFF2-40B4-BE49-F238E27FC236}">
                  <a16:creationId xmlns:a16="http://schemas.microsoft.com/office/drawing/2014/main" id="{FC04C3D9-F428-A376-6AAD-227046E6859F}"/>
                </a:ext>
              </a:extLst>
            </p:cNvPr>
            <p:cNvSpPr/>
            <p:nvPr/>
          </p:nvSpPr>
          <p:spPr>
            <a:xfrm>
              <a:off x="912211" y="3776549"/>
              <a:ext cx="236624" cy="236624"/>
            </a:xfrm>
            <a:custGeom>
              <a:avLst/>
              <a:gdLst>
                <a:gd name="connsiteX0" fmla="*/ 140494 w 171450"/>
                <a:gd name="connsiteY0" fmla="*/ 0 h 171450"/>
                <a:gd name="connsiteX1" fmla="*/ 171450 w 171450"/>
                <a:gd name="connsiteY1" fmla="*/ 30956 h 171450"/>
                <a:gd name="connsiteX2" fmla="*/ 171450 w 171450"/>
                <a:gd name="connsiteY2" fmla="*/ 140494 h 171450"/>
                <a:gd name="connsiteX3" fmla="*/ 140494 w 171450"/>
                <a:gd name="connsiteY3" fmla="*/ 171450 h 171450"/>
                <a:gd name="connsiteX4" fmla="*/ 30956 w 171450"/>
                <a:gd name="connsiteY4" fmla="*/ 171450 h 171450"/>
                <a:gd name="connsiteX5" fmla="*/ 0 w 171450"/>
                <a:gd name="connsiteY5" fmla="*/ 140494 h 171450"/>
                <a:gd name="connsiteX6" fmla="*/ 0 w 171450"/>
                <a:gd name="connsiteY6" fmla="*/ 30956 h 171450"/>
                <a:gd name="connsiteX7" fmla="*/ 30956 w 171450"/>
                <a:gd name="connsiteY7" fmla="*/ 0 h 171450"/>
                <a:gd name="connsiteX8" fmla="*/ 140494 w 171450"/>
                <a:gd name="connsiteY8" fmla="*/ 0 h 171450"/>
                <a:gd name="connsiteX9" fmla="*/ 157163 w 171450"/>
                <a:gd name="connsiteY9" fmla="*/ 52388 h 171450"/>
                <a:gd name="connsiteX10" fmla="*/ 14288 w 171450"/>
                <a:gd name="connsiteY10" fmla="*/ 52388 h 171450"/>
                <a:gd name="connsiteX11" fmla="*/ 14288 w 171450"/>
                <a:gd name="connsiteY11" fmla="*/ 140494 h 171450"/>
                <a:gd name="connsiteX12" fmla="*/ 30956 w 171450"/>
                <a:gd name="connsiteY12" fmla="*/ 157163 h 171450"/>
                <a:gd name="connsiteX13" fmla="*/ 140494 w 171450"/>
                <a:gd name="connsiteY13" fmla="*/ 157163 h 171450"/>
                <a:gd name="connsiteX14" fmla="*/ 157163 w 171450"/>
                <a:gd name="connsiteY14" fmla="*/ 140494 h 171450"/>
                <a:gd name="connsiteX15" fmla="*/ 157163 w 171450"/>
                <a:gd name="connsiteY15" fmla="*/ 52388 h 171450"/>
                <a:gd name="connsiteX16" fmla="*/ 45244 w 171450"/>
                <a:gd name="connsiteY16" fmla="*/ 109538 h 171450"/>
                <a:gd name="connsiteX17" fmla="*/ 57150 w 171450"/>
                <a:gd name="connsiteY17" fmla="*/ 121444 h 171450"/>
                <a:gd name="connsiteX18" fmla="*/ 45244 w 171450"/>
                <a:gd name="connsiteY18" fmla="*/ 133350 h 171450"/>
                <a:gd name="connsiteX19" fmla="*/ 33338 w 171450"/>
                <a:gd name="connsiteY19" fmla="*/ 121444 h 171450"/>
                <a:gd name="connsiteX20" fmla="*/ 45244 w 171450"/>
                <a:gd name="connsiteY20" fmla="*/ 109538 h 171450"/>
                <a:gd name="connsiteX21" fmla="*/ 85725 w 171450"/>
                <a:gd name="connsiteY21" fmla="*/ 109538 h 171450"/>
                <a:gd name="connsiteX22" fmla="*/ 97631 w 171450"/>
                <a:gd name="connsiteY22" fmla="*/ 121444 h 171450"/>
                <a:gd name="connsiteX23" fmla="*/ 85725 w 171450"/>
                <a:gd name="connsiteY23" fmla="*/ 133350 h 171450"/>
                <a:gd name="connsiteX24" fmla="*/ 73819 w 171450"/>
                <a:gd name="connsiteY24" fmla="*/ 121444 h 171450"/>
                <a:gd name="connsiteX25" fmla="*/ 85725 w 171450"/>
                <a:gd name="connsiteY25" fmla="*/ 109538 h 171450"/>
                <a:gd name="connsiteX26" fmla="*/ 45244 w 171450"/>
                <a:gd name="connsiteY26" fmla="*/ 71438 h 171450"/>
                <a:gd name="connsiteX27" fmla="*/ 57150 w 171450"/>
                <a:gd name="connsiteY27" fmla="*/ 83344 h 171450"/>
                <a:gd name="connsiteX28" fmla="*/ 45244 w 171450"/>
                <a:gd name="connsiteY28" fmla="*/ 95250 h 171450"/>
                <a:gd name="connsiteX29" fmla="*/ 33338 w 171450"/>
                <a:gd name="connsiteY29" fmla="*/ 83344 h 171450"/>
                <a:gd name="connsiteX30" fmla="*/ 45244 w 171450"/>
                <a:gd name="connsiteY30" fmla="*/ 71438 h 171450"/>
                <a:gd name="connsiteX31" fmla="*/ 85725 w 171450"/>
                <a:gd name="connsiteY31" fmla="*/ 71438 h 171450"/>
                <a:gd name="connsiteX32" fmla="*/ 97631 w 171450"/>
                <a:gd name="connsiteY32" fmla="*/ 83344 h 171450"/>
                <a:gd name="connsiteX33" fmla="*/ 85725 w 171450"/>
                <a:gd name="connsiteY33" fmla="*/ 95250 h 171450"/>
                <a:gd name="connsiteX34" fmla="*/ 73819 w 171450"/>
                <a:gd name="connsiteY34" fmla="*/ 83344 h 171450"/>
                <a:gd name="connsiteX35" fmla="*/ 85725 w 171450"/>
                <a:gd name="connsiteY35" fmla="*/ 71438 h 171450"/>
                <a:gd name="connsiteX36" fmla="*/ 126206 w 171450"/>
                <a:gd name="connsiteY36" fmla="*/ 71438 h 171450"/>
                <a:gd name="connsiteX37" fmla="*/ 138113 w 171450"/>
                <a:gd name="connsiteY37" fmla="*/ 83344 h 171450"/>
                <a:gd name="connsiteX38" fmla="*/ 126206 w 171450"/>
                <a:gd name="connsiteY38" fmla="*/ 95250 h 171450"/>
                <a:gd name="connsiteX39" fmla="*/ 114300 w 171450"/>
                <a:gd name="connsiteY39" fmla="*/ 83344 h 171450"/>
                <a:gd name="connsiteX40" fmla="*/ 126206 w 171450"/>
                <a:gd name="connsiteY40" fmla="*/ 71438 h 171450"/>
                <a:gd name="connsiteX41" fmla="*/ 140494 w 171450"/>
                <a:gd name="connsiteY41" fmla="*/ 14288 h 171450"/>
                <a:gd name="connsiteX42" fmla="*/ 30956 w 171450"/>
                <a:gd name="connsiteY42" fmla="*/ 14288 h 171450"/>
                <a:gd name="connsiteX43" fmla="*/ 14288 w 171450"/>
                <a:gd name="connsiteY43" fmla="*/ 30956 h 171450"/>
                <a:gd name="connsiteX44" fmla="*/ 14288 w 171450"/>
                <a:gd name="connsiteY44" fmla="*/ 38100 h 171450"/>
                <a:gd name="connsiteX45" fmla="*/ 157163 w 171450"/>
                <a:gd name="connsiteY45" fmla="*/ 38100 h 171450"/>
                <a:gd name="connsiteX46" fmla="*/ 157163 w 171450"/>
                <a:gd name="connsiteY46" fmla="*/ 30956 h 171450"/>
                <a:gd name="connsiteX47" fmla="*/ 140494 w 171450"/>
                <a:gd name="connsiteY47" fmla="*/ 14288 h 171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171450" h="171450">
                  <a:moveTo>
                    <a:pt x="140494" y="0"/>
                  </a:moveTo>
                  <a:cubicBezTo>
                    <a:pt x="157590" y="0"/>
                    <a:pt x="171450" y="13860"/>
                    <a:pt x="171450" y="30956"/>
                  </a:cubicBezTo>
                  <a:lnTo>
                    <a:pt x="171450" y="140494"/>
                  </a:lnTo>
                  <a:cubicBezTo>
                    <a:pt x="171450" y="157590"/>
                    <a:pt x="157590" y="171450"/>
                    <a:pt x="140494" y="171450"/>
                  </a:cubicBezTo>
                  <a:lnTo>
                    <a:pt x="30956" y="171450"/>
                  </a:lnTo>
                  <a:cubicBezTo>
                    <a:pt x="13860" y="171450"/>
                    <a:pt x="0" y="157590"/>
                    <a:pt x="0" y="140494"/>
                  </a:cubicBezTo>
                  <a:lnTo>
                    <a:pt x="0" y="30956"/>
                  </a:lnTo>
                  <a:cubicBezTo>
                    <a:pt x="0" y="13860"/>
                    <a:pt x="13860" y="0"/>
                    <a:pt x="30956" y="0"/>
                  </a:cubicBezTo>
                  <a:lnTo>
                    <a:pt x="140494" y="0"/>
                  </a:lnTo>
                  <a:close/>
                  <a:moveTo>
                    <a:pt x="157163" y="52388"/>
                  </a:moveTo>
                  <a:lnTo>
                    <a:pt x="14288" y="52388"/>
                  </a:lnTo>
                  <a:lnTo>
                    <a:pt x="14288" y="140494"/>
                  </a:lnTo>
                  <a:cubicBezTo>
                    <a:pt x="14288" y="149695"/>
                    <a:pt x="21755" y="157163"/>
                    <a:pt x="30956" y="157163"/>
                  </a:cubicBezTo>
                  <a:lnTo>
                    <a:pt x="140494" y="157163"/>
                  </a:lnTo>
                  <a:cubicBezTo>
                    <a:pt x="149700" y="157163"/>
                    <a:pt x="157163" y="149700"/>
                    <a:pt x="157163" y="140494"/>
                  </a:cubicBezTo>
                  <a:lnTo>
                    <a:pt x="157163" y="52388"/>
                  </a:lnTo>
                  <a:close/>
                  <a:moveTo>
                    <a:pt x="45244" y="109538"/>
                  </a:moveTo>
                  <a:cubicBezTo>
                    <a:pt x="51819" y="109538"/>
                    <a:pt x="57150" y="114868"/>
                    <a:pt x="57150" y="121444"/>
                  </a:cubicBezTo>
                  <a:cubicBezTo>
                    <a:pt x="57150" y="128020"/>
                    <a:pt x="51819" y="133350"/>
                    <a:pt x="45244" y="133350"/>
                  </a:cubicBezTo>
                  <a:cubicBezTo>
                    <a:pt x="38668" y="133350"/>
                    <a:pt x="33338" y="128020"/>
                    <a:pt x="33338" y="121444"/>
                  </a:cubicBezTo>
                  <a:cubicBezTo>
                    <a:pt x="33338" y="114868"/>
                    <a:pt x="38668" y="109538"/>
                    <a:pt x="45244" y="109538"/>
                  </a:cubicBezTo>
                  <a:close/>
                  <a:moveTo>
                    <a:pt x="85725" y="109538"/>
                  </a:moveTo>
                  <a:cubicBezTo>
                    <a:pt x="92301" y="109538"/>
                    <a:pt x="97631" y="114868"/>
                    <a:pt x="97631" y="121444"/>
                  </a:cubicBezTo>
                  <a:cubicBezTo>
                    <a:pt x="97631" y="128020"/>
                    <a:pt x="92301" y="133350"/>
                    <a:pt x="85725" y="133350"/>
                  </a:cubicBezTo>
                  <a:cubicBezTo>
                    <a:pt x="79149" y="133350"/>
                    <a:pt x="73819" y="128020"/>
                    <a:pt x="73819" y="121444"/>
                  </a:cubicBezTo>
                  <a:cubicBezTo>
                    <a:pt x="73819" y="114868"/>
                    <a:pt x="79149" y="109538"/>
                    <a:pt x="85725" y="109538"/>
                  </a:cubicBezTo>
                  <a:close/>
                  <a:moveTo>
                    <a:pt x="45244" y="71438"/>
                  </a:moveTo>
                  <a:cubicBezTo>
                    <a:pt x="51819" y="71438"/>
                    <a:pt x="57150" y="76768"/>
                    <a:pt x="57150" y="83344"/>
                  </a:cubicBezTo>
                  <a:cubicBezTo>
                    <a:pt x="57150" y="89920"/>
                    <a:pt x="51819" y="95250"/>
                    <a:pt x="45244" y="95250"/>
                  </a:cubicBezTo>
                  <a:cubicBezTo>
                    <a:pt x="38668" y="95250"/>
                    <a:pt x="33338" y="89920"/>
                    <a:pt x="33338" y="83344"/>
                  </a:cubicBezTo>
                  <a:cubicBezTo>
                    <a:pt x="33338" y="76768"/>
                    <a:pt x="38668" y="71438"/>
                    <a:pt x="45244" y="71438"/>
                  </a:cubicBezTo>
                  <a:close/>
                  <a:moveTo>
                    <a:pt x="85725" y="71438"/>
                  </a:moveTo>
                  <a:cubicBezTo>
                    <a:pt x="92301" y="71438"/>
                    <a:pt x="97631" y="76768"/>
                    <a:pt x="97631" y="83344"/>
                  </a:cubicBezTo>
                  <a:cubicBezTo>
                    <a:pt x="97631" y="89920"/>
                    <a:pt x="92301" y="95250"/>
                    <a:pt x="85725" y="95250"/>
                  </a:cubicBezTo>
                  <a:cubicBezTo>
                    <a:pt x="79149" y="95250"/>
                    <a:pt x="73819" y="89920"/>
                    <a:pt x="73819" y="83344"/>
                  </a:cubicBezTo>
                  <a:cubicBezTo>
                    <a:pt x="73819" y="76768"/>
                    <a:pt x="79149" y="71438"/>
                    <a:pt x="85725" y="71438"/>
                  </a:cubicBezTo>
                  <a:close/>
                  <a:moveTo>
                    <a:pt x="126206" y="71438"/>
                  </a:moveTo>
                  <a:cubicBezTo>
                    <a:pt x="132782" y="71438"/>
                    <a:pt x="138113" y="76768"/>
                    <a:pt x="138113" y="83344"/>
                  </a:cubicBezTo>
                  <a:cubicBezTo>
                    <a:pt x="138113" y="89920"/>
                    <a:pt x="132782" y="95250"/>
                    <a:pt x="126206" y="95250"/>
                  </a:cubicBezTo>
                  <a:cubicBezTo>
                    <a:pt x="119630" y="95250"/>
                    <a:pt x="114300" y="89920"/>
                    <a:pt x="114300" y="83344"/>
                  </a:cubicBezTo>
                  <a:cubicBezTo>
                    <a:pt x="114300" y="76768"/>
                    <a:pt x="119630" y="71438"/>
                    <a:pt x="126206" y="71438"/>
                  </a:cubicBezTo>
                  <a:close/>
                  <a:moveTo>
                    <a:pt x="140494" y="14288"/>
                  </a:moveTo>
                  <a:lnTo>
                    <a:pt x="30956" y="14288"/>
                  </a:lnTo>
                  <a:cubicBezTo>
                    <a:pt x="21750" y="14288"/>
                    <a:pt x="14288" y="21750"/>
                    <a:pt x="14288" y="30956"/>
                  </a:cubicBezTo>
                  <a:lnTo>
                    <a:pt x="14288" y="38100"/>
                  </a:lnTo>
                  <a:lnTo>
                    <a:pt x="157163" y="38100"/>
                  </a:lnTo>
                  <a:lnTo>
                    <a:pt x="157163" y="30956"/>
                  </a:lnTo>
                  <a:cubicBezTo>
                    <a:pt x="157163" y="21750"/>
                    <a:pt x="149700" y="14288"/>
                    <a:pt x="140494" y="14288"/>
                  </a:cubicBezTo>
                  <a:close/>
                </a:path>
              </a:pathLst>
            </a:custGeom>
            <a:gradFill flip="none" rotWithShape="1">
              <a:gsLst>
                <a:gs pos="0">
                  <a:srgbClr val="0078D4"/>
                </a:gs>
                <a:gs pos="100000">
                  <a:srgbClr val="C53FCC"/>
                </a:gs>
              </a:gsLst>
              <a:lin ang="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lIns="704088" tIns="45720" rIns="91440" bIns="45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white"/>
                </a:solidFill>
                <a:effectLst/>
                <a:uLnTx/>
                <a:uFillTx/>
                <a:latin typeface="Segoe UI Semibold"/>
                <a:ea typeface="+mn-ea"/>
                <a:cs typeface="+mn-cs"/>
              </a:endParaRPr>
            </a:p>
          </p:txBody>
        </p:sp>
      </p:grpSp>
      <p:grpSp>
        <p:nvGrpSpPr>
          <p:cNvPr id="135" name="Group 134">
            <a:extLst>
              <a:ext uri="{FF2B5EF4-FFF2-40B4-BE49-F238E27FC236}">
                <a16:creationId xmlns:a16="http://schemas.microsoft.com/office/drawing/2014/main" id="{0F05173C-5A14-09AF-FACC-6D1D0A347A0B}"/>
              </a:ext>
              <a:ext uri="{C183D7F6-B498-43B3-948B-1728B52AA6E4}">
                <adec:decorative xmlns:adec="http://schemas.microsoft.com/office/drawing/2017/decorative" val="1"/>
              </a:ext>
            </a:extLst>
          </p:cNvPr>
          <p:cNvGrpSpPr/>
          <p:nvPr/>
        </p:nvGrpSpPr>
        <p:grpSpPr>
          <a:xfrm>
            <a:off x="6418151" y="2794393"/>
            <a:ext cx="549017" cy="549017"/>
            <a:chOff x="6418151" y="1640507"/>
            <a:chExt cx="549017" cy="549017"/>
          </a:xfrm>
        </p:grpSpPr>
        <p:sp>
          <p:nvSpPr>
            <p:cNvPr id="102" name="Oval 101">
              <a:extLst>
                <a:ext uri="{FF2B5EF4-FFF2-40B4-BE49-F238E27FC236}">
                  <a16:creationId xmlns:a16="http://schemas.microsoft.com/office/drawing/2014/main" id="{2BFCB285-C6D8-828B-6F93-EEEDAD02F9C8}"/>
                </a:ext>
              </a:extLst>
            </p:cNvPr>
            <p:cNvSpPr>
              <a:spLocks/>
            </p:cNvSpPr>
            <p:nvPr/>
          </p:nvSpPr>
          <p:spPr bwMode="auto">
            <a:xfrm>
              <a:off x="6418151" y="1640507"/>
              <a:ext cx="549017" cy="549017"/>
            </a:xfrm>
            <a:prstGeom prst="ellipse">
              <a:avLst/>
            </a:prstGeom>
            <a:solidFill>
              <a:schemeClr val="bg1"/>
            </a:solidFill>
            <a:ln w="19050">
              <a:gradFill>
                <a:gsLst>
                  <a:gs pos="100000">
                    <a:srgbClr val="C03BC4"/>
                  </a:gs>
                  <a:gs pos="0">
                    <a:srgbClr val="0078D4"/>
                  </a:gs>
                </a:gsLst>
                <a:lin ang="0" scaled="0"/>
              </a:gradFill>
            </a:ln>
            <a:effectLst>
              <a:outerShdw blurRad="177800" dist="25400" algn="tl" rotWithShape="0">
                <a:prstClr val="black">
                  <a:alpha val="5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20" name="Graphic 118">
              <a:extLst>
                <a:ext uri="{FF2B5EF4-FFF2-40B4-BE49-F238E27FC236}">
                  <a16:creationId xmlns:a16="http://schemas.microsoft.com/office/drawing/2014/main" id="{23682C94-93A1-361E-C61C-5A902965878D}"/>
                </a:ext>
              </a:extLst>
            </p:cNvPr>
            <p:cNvSpPr/>
            <p:nvPr/>
          </p:nvSpPr>
          <p:spPr>
            <a:xfrm>
              <a:off x="6570599" y="1825206"/>
              <a:ext cx="244120" cy="179618"/>
            </a:xfrm>
            <a:custGeom>
              <a:avLst/>
              <a:gdLst>
                <a:gd name="connsiteX0" fmla="*/ 12014 w 161568"/>
                <a:gd name="connsiteY0" fmla="*/ 63830 h 118878"/>
                <a:gd name="connsiteX1" fmla="*/ 1917 w 161568"/>
                <a:gd name="connsiteY1" fmla="*/ 64186 h 118878"/>
                <a:gd name="connsiteX2" fmla="*/ 1917 w 161568"/>
                <a:gd name="connsiteY2" fmla="*/ 73926 h 118878"/>
                <a:gd name="connsiteX3" fmla="*/ 44780 w 161568"/>
                <a:gd name="connsiteY3" fmla="*/ 116789 h 118878"/>
                <a:gd name="connsiteX4" fmla="*/ 54876 w 161568"/>
                <a:gd name="connsiteY4" fmla="*/ 116789 h 118878"/>
                <a:gd name="connsiteX5" fmla="*/ 159651 w 161568"/>
                <a:gd name="connsiteY5" fmla="*/ 12014 h 118878"/>
                <a:gd name="connsiteX6" fmla="*/ 159295 w 161568"/>
                <a:gd name="connsiteY6" fmla="*/ 1917 h 118878"/>
                <a:gd name="connsiteX7" fmla="*/ 149555 w 161568"/>
                <a:gd name="connsiteY7" fmla="*/ 1917 h 118878"/>
                <a:gd name="connsiteX8" fmla="*/ 49828 w 161568"/>
                <a:gd name="connsiteY8" fmla="*/ 101644 h 118878"/>
                <a:gd name="connsiteX9" fmla="*/ 12014 w 161568"/>
                <a:gd name="connsiteY9" fmla="*/ 63830 h 1188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1568" h="118878">
                  <a:moveTo>
                    <a:pt x="12014" y="63830"/>
                  </a:moveTo>
                  <a:cubicBezTo>
                    <a:pt x="9127" y="61140"/>
                    <a:pt x="4607" y="61300"/>
                    <a:pt x="1917" y="64186"/>
                  </a:cubicBezTo>
                  <a:cubicBezTo>
                    <a:pt x="-639" y="66929"/>
                    <a:pt x="-639" y="71183"/>
                    <a:pt x="1917" y="73926"/>
                  </a:cubicBezTo>
                  <a:lnTo>
                    <a:pt x="44780" y="116789"/>
                  </a:lnTo>
                  <a:cubicBezTo>
                    <a:pt x="47569" y="119575"/>
                    <a:pt x="52087" y="119575"/>
                    <a:pt x="54876" y="116789"/>
                  </a:cubicBezTo>
                  <a:lnTo>
                    <a:pt x="159651" y="12014"/>
                  </a:lnTo>
                  <a:cubicBezTo>
                    <a:pt x="162341" y="9127"/>
                    <a:pt x="162181" y="4607"/>
                    <a:pt x="159295" y="1917"/>
                  </a:cubicBezTo>
                  <a:cubicBezTo>
                    <a:pt x="156552" y="-639"/>
                    <a:pt x="152298" y="-639"/>
                    <a:pt x="149555" y="1917"/>
                  </a:cubicBezTo>
                  <a:lnTo>
                    <a:pt x="49828" y="101644"/>
                  </a:lnTo>
                  <a:lnTo>
                    <a:pt x="12014" y="63830"/>
                  </a:lnTo>
                  <a:close/>
                </a:path>
              </a:pathLst>
            </a:custGeom>
            <a:gradFill flip="none" rotWithShape="1">
              <a:gsLst>
                <a:gs pos="0">
                  <a:srgbClr val="0078D4"/>
                </a:gs>
                <a:gs pos="100000">
                  <a:srgbClr val="C53FCC"/>
                </a:gs>
              </a:gsLst>
              <a:lin ang="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lIns="704088" tIns="45720" rIns="91440" bIns="45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white"/>
                </a:solidFill>
                <a:effectLst/>
                <a:uLnTx/>
                <a:uFillTx/>
                <a:latin typeface="Segoe UI Semibold"/>
                <a:ea typeface="+mn-ea"/>
                <a:cs typeface="+mn-cs"/>
              </a:endParaRPr>
            </a:p>
          </p:txBody>
        </p:sp>
      </p:grpSp>
      <p:grpSp>
        <p:nvGrpSpPr>
          <p:cNvPr id="136" name="Group 135">
            <a:extLst>
              <a:ext uri="{FF2B5EF4-FFF2-40B4-BE49-F238E27FC236}">
                <a16:creationId xmlns:a16="http://schemas.microsoft.com/office/drawing/2014/main" id="{F7B2E4C0-1268-7895-4963-552A7274C351}"/>
              </a:ext>
              <a:ext uri="{C183D7F6-B498-43B3-948B-1728B52AA6E4}">
                <adec:decorative xmlns:adec="http://schemas.microsoft.com/office/drawing/2017/decorative" val="1"/>
              </a:ext>
            </a:extLst>
          </p:cNvPr>
          <p:cNvGrpSpPr/>
          <p:nvPr/>
        </p:nvGrpSpPr>
        <p:grpSpPr>
          <a:xfrm>
            <a:off x="6418151" y="3767682"/>
            <a:ext cx="549017" cy="549017"/>
            <a:chOff x="6418151" y="2613796"/>
            <a:chExt cx="549017" cy="549017"/>
          </a:xfrm>
        </p:grpSpPr>
        <p:sp>
          <p:nvSpPr>
            <p:cNvPr id="100" name="Oval 99">
              <a:extLst>
                <a:ext uri="{FF2B5EF4-FFF2-40B4-BE49-F238E27FC236}">
                  <a16:creationId xmlns:a16="http://schemas.microsoft.com/office/drawing/2014/main" id="{8C171E7A-AB14-7E0A-C29A-B4F7624454C0}"/>
                </a:ext>
              </a:extLst>
            </p:cNvPr>
            <p:cNvSpPr>
              <a:spLocks/>
            </p:cNvSpPr>
            <p:nvPr/>
          </p:nvSpPr>
          <p:spPr bwMode="auto">
            <a:xfrm>
              <a:off x="6418151" y="2613796"/>
              <a:ext cx="549017" cy="549017"/>
            </a:xfrm>
            <a:prstGeom prst="ellipse">
              <a:avLst/>
            </a:prstGeom>
            <a:solidFill>
              <a:schemeClr val="bg1"/>
            </a:solidFill>
            <a:ln w="19050">
              <a:gradFill>
                <a:gsLst>
                  <a:gs pos="100000">
                    <a:srgbClr val="C03BC4"/>
                  </a:gs>
                  <a:gs pos="0">
                    <a:srgbClr val="0078D4"/>
                  </a:gs>
                </a:gsLst>
                <a:lin ang="0" scaled="0"/>
              </a:gradFill>
            </a:ln>
            <a:effectLst>
              <a:outerShdw blurRad="177800" dist="25400" algn="tl" rotWithShape="0">
                <a:prstClr val="black">
                  <a:alpha val="5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23" name="Graphic 121">
              <a:extLst>
                <a:ext uri="{FF2B5EF4-FFF2-40B4-BE49-F238E27FC236}">
                  <a16:creationId xmlns:a16="http://schemas.microsoft.com/office/drawing/2014/main" id="{E811AEB6-2DB4-DE87-9B1F-AE0ACE29061F}"/>
                </a:ext>
              </a:extLst>
            </p:cNvPr>
            <p:cNvSpPr/>
            <p:nvPr/>
          </p:nvSpPr>
          <p:spPr>
            <a:xfrm>
              <a:off x="6591917" y="2744387"/>
              <a:ext cx="201484" cy="287834"/>
            </a:xfrm>
            <a:custGeom>
              <a:avLst/>
              <a:gdLst>
                <a:gd name="connsiteX0" fmla="*/ 126206 w 133350"/>
                <a:gd name="connsiteY0" fmla="*/ 85725 h 190498"/>
                <a:gd name="connsiteX1" fmla="*/ 133283 w 133350"/>
                <a:gd name="connsiteY1" fmla="*/ 91897 h 190498"/>
                <a:gd name="connsiteX2" fmla="*/ 133350 w 133350"/>
                <a:gd name="connsiteY2" fmla="*/ 92869 h 190498"/>
                <a:gd name="connsiteX3" fmla="*/ 133350 w 133350"/>
                <a:gd name="connsiteY3" fmla="*/ 97631 h 190498"/>
                <a:gd name="connsiteX4" fmla="*/ 73828 w 133350"/>
                <a:gd name="connsiteY4" fmla="*/ 161754 h 190498"/>
                <a:gd name="connsiteX5" fmla="*/ 73819 w 133350"/>
                <a:gd name="connsiteY5" fmla="*/ 183356 h 190498"/>
                <a:gd name="connsiteX6" fmla="*/ 66673 w 133350"/>
                <a:gd name="connsiteY6" fmla="*/ 190498 h 190498"/>
                <a:gd name="connsiteX7" fmla="*/ 59598 w 133350"/>
                <a:gd name="connsiteY7" fmla="*/ 184328 h 190498"/>
                <a:gd name="connsiteX8" fmla="*/ 59531 w 133350"/>
                <a:gd name="connsiteY8" fmla="*/ 183356 h 190498"/>
                <a:gd name="connsiteX9" fmla="*/ 59531 w 133350"/>
                <a:gd name="connsiteY9" fmla="*/ 161754 h 190498"/>
                <a:gd name="connsiteX10" fmla="*/ 38 w 133350"/>
                <a:gd name="connsiteY10" fmla="*/ 99879 h 190498"/>
                <a:gd name="connsiteX11" fmla="*/ 0 w 133350"/>
                <a:gd name="connsiteY11" fmla="*/ 97631 h 190498"/>
                <a:gd name="connsiteX12" fmla="*/ 0 w 133350"/>
                <a:gd name="connsiteY12" fmla="*/ 92869 h 190498"/>
                <a:gd name="connsiteX13" fmla="*/ 7146 w 133350"/>
                <a:gd name="connsiteY13" fmla="*/ 85727 h 190498"/>
                <a:gd name="connsiteX14" fmla="*/ 14221 w 133350"/>
                <a:gd name="connsiteY14" fmla="*/ 91897 h 190498"/>
                <a:gd name="connsiteX15" fmla="*/ 14288 w 133350"/>
                <a:gd name="connsiteY15" fmla="*/ 92869 h 190498"/>
                <a:gd name="connsiteX16" fmla="*/ 14288 w 133350"/>
                <a:gd name="connsiteY16" fmla="*/ 97631 h 190498"/>
                <a:gd name="connsiteX17" fmla="*/ 62236 w 133350"/>
                <a:gd name="connsiteY17" fmla="*/ 147599 h 190498"/>
                <a:gd name="connsiteX18" fmla="*/ 64294 w 133350"/>
                <a:gd name="connsiteY18" fmla="*/ 147638 h 190498"/>
                <a:gd name="connsiteX19" fmla="*/ 69056 w 133350"/>
                <a:gd name="connsiteY19" fmla="*/ 147638 h 190498"/>
                <a:gd name="connsiteX20" fmla="*/ 119024 w 133350"/>
                <a:gd name="connsiteY20" fmla="*/ 99689 h 190498"/>
                <a:gd name="connsiteX21" fmla="*/ 119063 w 133350"/>
                <a:gd name="connsiteY21" fmla="*/ 97631 h 190498"/>
                <a:gd name="connsiteX22" fmla="*/ 119063 w 133350"/>
                <a:gd name="connsiteY22" fmla="*/ 92869 h 190498"/>
                <a:gd name="connsiteX23" fmla="*/ 126206 w 133350"/>
                <a:gd name="connsiteY23" fmla="*/ 85725 h 190498"/>
                <a:gd name="connsiteX24" fmla="*/ 66675 w 133350"/>
                <a:gd name="connsiteY24" fmla="*/ 0 h 190498"/>
                <a:gd name="connsiteX25" fmla="*/ 104775 w 133350"/>
                <a:gd name="connsiteY25" fmla="*/ 38100 h 190498"/>
                <a:gd name="connsiteX26" fmla="*/ 104775 w 133350"/>
                <a:gd name="connsiteY26" fmla="*/ 95250 h 190498"/>
                <a:gd name="connsiteX27" fmla="*/ 66675 w 133350"/>
                <a:gd name="connsiteY27" fmla="*/ 133350 h 190498"/>
                <a:gd name="connsiteX28" fmla="*/ 28575 w 133350"/>
                <a:gd name="connsiteY28" fmla="*/ 95250 h 190498"/>
                <a:gd name="connsiteX29" fmla="*/ 28575 w 133350"/>
                <a:gd name="connsiteY29" fmla="*/ 38100 h 190498"/>
                <a:gd name="connsiteX30" fmla="*/ 66675 w 133350"/>
                <a:gd name="connsiteY30" fmla="*/ 0 h 190498"/>
                <a:gd name="connsiteX31" fmla="*/ 66675 w 133350"/>
                <a:gd name="connsiteY31" fmla="*/ 14288 h 190498"/>
                <a:gd name="connsiteX32" fmla="*/ 42863 w 133350"/>
                <a:gd name="connsiteY32" fmla="*/ 38100 h 190498"/>
                <a:gd name="connsiteX33" fmla="*/ 42863 w 133350"/>
                <a:gd name="connsiteY33" fmla="*/ 95250 h 190498"/>
                <a:gd name="connsiteX34" fmla="*/ 66675 w 133350"/>
                <a:gd name="connsiteY34" fmla="*/ 119063 h 190498"/>
                <a:gd name="connsiteX35" fmla="*/ 90488 w 133350"/>
                <a:gd name="connsiteY35" fmla="*/ 95250 h 190498"/>
                <a:gd name="connsiteX36" fmla="*/ 90488 w 133350"/>
                <a:gd name="connsiteY36" fmla="*/ 38100 h 190498"/>
                <a:gd name="connsiteX37" fmla="*/ 66675 w 133350"/>
                <a:gd name="connsiteY37" fmla="*/ 14288 h 1904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33350" h="190498">
                  <a:moveTo>
                    <a:pt x="126206" y="85725"/>
                  </a:moveTo>
                  <a:cubicBezTo>
                    <a:pt x="129776" y="85725"/>
                    <a:pt x="132798" y="88361"/>
                    <a:pt x="133283" y="91897"/>
                  </a:cubicBezTo>
                  <a:lnTo>
                    <a:pt x="133350" y="92869"/>
                  </a:lnTo>
                  <a:lnTo>
                    <a:pt x="133350" y="97631"/>
                  </a:lnTo>
                  <a:cubicBezTo>
                    <a:pt x="133353" y="131291"/>
                    <a:pt x="107395" y="159255"/>
                    <a:pt x="73828" y="161754"/>
                  </a:cubicBezTo>
                  <a:lnTo>
                    <a:pt x="73819" y="183356"/>
                  </a:lnTo>
                  <a:cubicBezTo>
                    <a:pt x="73818" y="187302"/>
                    <a:pt x="70618" y="190499"/>
                    <a:pt x="66673" y="190498"/>
                  </a:cubicBezTo>
                  <a:cubicBezTo>
                    <a:pt x="63104" y="190497"/>
                    <a:pt x="60085" y="187863"/>
                    <a:pt x="59598" y="184328"/>
                  </a:cubicBezTo>
                  <a:lnTo>
                    <a:pt x="59531" y="183356"/>
                  </a:lnTo>
                  <a:lnTo>
                    <a:pt x="59531" y="161754"/>
                  </a:lnTo>
                  <a:cubicBezTo>
                    <a:pt x="26820" y="159325"/>
                    <a:pt x="1182" y="132660"/>
                    <a:pt x="38" y="99879"/>
                  </a:cubicBezTo>
                  <a:lnTo>
                    <a:pt x="0" y="97631"/>
                  </a:lnTo>
                  <a:lnTo>
                    <a:pt x="0" y="92869"/>
                  </a:lnTo>
                  <a:cubicBezTo>
                    <a:pt x="1" y="88924"/>
                    <a:pt x="3201" y="85726"/>
                    <a:pt x="7146" y="85727"/>
                  </a:cubicBezTo>
                  <a:cubicBezTo>
                    <a:pt x="10714" y="85728"/>
                    <a:pt x="13734" y="88362"/>
                    <a:pt x="14221" y="91897"/>
                  </a:cubicBezTo>
                  <a:lnTo>
                    <a:pt x="14288" y="92869"/>
                  </a:lnTo>
                  <a:lnTo>
                    <a:pt x="14288" y="97631"/>
                  </a:lnTo>
                  <a:cubicBezTo>
                    <a:pt x="14285" y="124450"/>
                    <a:pt x="35440" y="146496"/>
                    <a:pt x="62236" y="147599"/>
                  </a:cubicBezTo>
                  <a:lnTo>
                    <a:pt x="64294" y="147638"/>
                  </a:lnTo>
                  <a:lnTo>
                    <a:pt x="69056" y="147638"/>
                  </a:lnTo>
                  <a:cubicBezTo>
                    <a:pt x="95875" y="147639"/>
                    <a:pt x="117921" y="126485"/>
                    <a:pt x="119024" y="99689"/>
                  </a:cubicBezTo>
                  <a:lnTo>
                    <a:pt x="119063" y="97631"/>
                  </a:lnTo>
                  <a:lnTo>
                    <a:pt x="119063" y="92869"/>
                  </a:lnTo>
                  <a:cubicBezTo>
                    <a:pt x="119063" y="88924"/>
                    <a:pt x="122261" y="85725"/>
                    <a:pt x="126206" y="85725"/>
                  </a:cubicBezTo>
                  <a:close/>
                  <a:moveTo>
                    <a:pt x="66675" y="0"/>
                  </a:moveTo>
                  <a:cubicBezTo>
                    <a:pt x="87717" y="0"/>
                    <a:pt x="104775" y="17058"/>
                    <a:pt x="104775" y="38100"/>
                  </a:cubicBezTo>
                  <a:lnTo>
                    <a:pt x="104775" y="95250"/>
                  </a:lnTo>
                  <a:cubicBezTo>
                    <a:pt x="104775" y="116292"/>
                    <a:pt x="87717" y="133350"/>
                    <a:pt x="66675" y="133350"/>
                  </a:cubicBezTo>
                  <a:cubicBezTo>
                    <a:pt x="45633" y="133350"/>
                    <a:pt x="28575" y="116292"/>
                    <a:pt x="28575" y="95250"/>
                  </a:cubicBezTo>
                  <a:lnTo>
                    <a:pt x="28575" y="38100"/>
                  </a:lnTo>
                  <a:cubicBezTo>
                    <a:pt x="28575" y="17058"/>
                    <a:pt x="45633" y="0"/>
                    <a:pt x="66675" y="0"/>
                  </a:cubicBezTo>
                  <a:close/>
                  <a:moveTo>
                    <a:pt x="66675" y="14288"/>
                  </a:moveTo>
                  <a:cubicBezTo>
                    <a:pt x="53524" y="14288"/>
                    <a:pt x="42863" y="24949"/>
                    <a:pt x="42863" y="38100"/>
                  </a:cubicBezTo>
                  <a:lnTo>
                    <a:pt x="42863" y="95250"/>
                  </a:lnTo>
                  <a:cubicBezTo>
                    <a:pt x="42863" y="108401"/>
                    <a:pt x="53524" y="119063"/>
                    <a:pt x="66675" y="119063"/>
                  </a:cubicBezTo>
                  <a:cubicBezTo>
                    <a:pt x="79826" y="119063"/>
                    <a:pt x="90488" y="108401"/>
                    <a:pt x="90488" y="95250"/>
                  </a:cubicBezTo>
                  <a:lnTo>
                    <a:pt x="90488" y="38100"/>
                  </a:lnTo>
                  <a:cubicBezTo>
                    <a:pt x="90488" y="24949"/>
                    <a:pt x="79826" y="14288"/>
                    <a:pt x="66675" y="14288"/>
                  </a:cubicBezTo>
                  <a:close/>
                </a:path>
              </a:pathLst>
            </a:custGeom>
            <a:gradFill flip="none" rotWithShape="1">
              <a:gsLst>
                <a:gs pos="0">
                  <a:srgbClr val="0078D4"/>
                </a:gs>
                <a:gs pos="100000">
                  <a:srgbClr val="C53FCC"/>
                </a:gs>
              </a:gsLst>
              <a:lin ang="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lIns="704088" tIns="45720" rIns="91440" bIns="45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white"/>
                </a:solidFill>
                <a:effectLst/>
                <a:uLnTx/>
                <a:uFillTx/>
                <a:latin typeface="Segoe UI Semibold"/>
                <a:ea typeface="+mn-ea"/>
                <a:cs typeface="+mn-cs"/>
              </a:endParaRPr>
            </a:p>
          </p:txBody>
        </p:sp>
      </p:grpSp>
      <p:grpSp>
        <p:nvGrpSpPr>
          <p:cNvPr id="134" name="Group 133">
            <a:extLst>
              <a:ext uri="{FF2B5EF4-FFF2-40B4-BE49-F238E27FC236}">
                <a16:creationId xmlns:a16="http://schemas.microsoft.com/office/drawing/2014/main" id="{FB8372DD-A1AA-DAB5-4F93-A56C06182D19}"/>
              </a:ext>
              <a:ext uri="{C183D7F6-B498-43B3-948B-1728B52AA6E4}">
                <adec:decorative xmlns:adec="http://schemas.microsoft.com/office/drawing/2017/decorative" val="1"/>
              </a:ext>
            </a:extLst>
          </p:cNvPr>
          <p:cNvGrpSpPr/>
          <p:nvPr/>
        </p:nvGrpSpPr>
        <p:grpSpPr>
          <a:xfrm>
            <a:off x="6418151" y="4740971"/>
            <a:ext cx="549017" cy="549017"/>
            <a:chOff x="6418151" y="3587085"/>
            <a:chExt cx="549017" cy="549017"/>
          </a:xfrm>
        </p:grpSpPr>
        <p:sp>
          <p:nvSpPr>
            <p:cNvPr id="98" name="Oval 97">
              <a:extLst>
                <a:ext uri="{FF2B5EF4-FFF2-40B4-BE49-F238E27FC236}">
                  <a16:creationId xmlns:a16="http://schemas.microsoft.com/office/drawing/2014/main" id="{DA1A60FD-82E1-C532-87FC-71E0DF80C890}"/>
                </a:ext>
              </a:extLst>
            </p:cNvPr>
            <p:cNvSpPr>
              <a:spLocks/>
            </p:cNvSpPr>
            <p:nvPr/>
          </p:nvSpPr>
          <p:spPr bwMode="auto">
            <a:xfrm>
              <a:off x="6418151" y="3587085"/>
              <a:ext cx="549017" cy="549017"/>
            </a:xfrm>
            <a:prstGeom prst="ellipse">
              <a:avLst/>
            </a:prstGeom>
            <a:solidFill>
              <a:schemeClr val="bg1"/>
            </a:solidFill>
            <a:ln w="19050">
              <a:gradFill>
                <a:gsLst>
                  <a:gs pos="100000">
                    <a:srgbClr val="C03BC4"/>
                  </a:gs>
                  <a:gs pos="0">
                    <a:srgbClr val="0078D4"/>
                  </a:gs>
                </a:gsLst>
                <a:lin ang="0" scaled="0"/>
              </a:gradFill>
            </a:ln>
            <a:effectLst>
              <a:outerShdw blurRad="177800" dist="25400" algn="tl" rotWithShape="0">
                <a:prstClr val="black">
                  <a:alpha val="5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24" name="Graphic 128" descr="Icon of a bulb">
              <a:extLst>
                <a:ext uri="{FF2B5EF4-FFF2-40B4-BE49-F238E27FC236}">
                  <a16:creationId xmlns:a16="http://schemas.microsoft.com/office/drawing/2014/main" id="{5CF0670A-A56E-0D7A-31D1-CD5B7E2FB553}"/>
                </a:ext>
              </a:extLst>
            </p:cNvPr>
            <p:cNvSpPr/>
            <p:nvPr/>
          </p:nvSpPr>
          <p:spPr>
            <a:xfrm>
              <a:off x="6594656" y="3726426"/>
              <a:ext cx="196006" cy="270334"/>
            </a:xfrm>
            <a:custGeom>
              <a:avLst/>
              <a:gdLst>
                <a:gd name="connsiteX0" fmla="*/ 118354 w 236708"/>
                <a:gd name="connsiteY0" fmla="*/ 0 h 326472"/>
                <a:gd name="connsiteX1" fmla="*/ 236709 w 236708"/>
                <a:gd name="connsiteY1" fmla="*/ 118354 h 326472"/>
                <a:gd name="connsiteX2" fmla="*/ 193234 w 236708"/>
                <a:gd name="connsiteY2" fmla="*/ 212090 h 326472"/>
                <a:gd name="connsiteX3" fmla="*/ 190376 w 236708"/>
                <a:gd name="connsiteY3" fmla="*/ 216421 h 326472"/>
                <a:gd name="connsiteX4" fmla="*/ 189863 w 236708"/>
                <a:gd name="connsiteY4" fmla="*/ 218091 h 326472"/>
                <a:gd name="connsiteX5" fmla="*/ 171398 w 236708"/>
                <a:gd name="connsiteY5" fmla="*/ 298010 h 326472"/>
                <a:gd name="connsiteX6" fmla="*/ 138437 w 236708"/>
                <a:gd name="connsiteY6" fmla="*/ 326365 h 326472"/>
                <a:gd name="connsiteX7" fmla="*/ 135610 w 236708"/>
                <a:gd name="connsiteY7" fmla="*/ 326472 h 326472"/>
                <a:gd name="connsiteX8" fmla="*/ 101104 w 236708"/>
                <a:gd name="connsiteY8" fmla="*/ 326472 h 326472"/>
                <a:gd name="connsiteX9" fmla="*/ 66055 w 236708"/>
                <a:gd name="connsiteY9" fmla="*/ 300732 h 326472"/>
                <a:gd name="connsiteX10" fmla="*/ 65313 w 236708"/>
                <a:gd name="connsiteY10" fmla="*/ 298001 h 326472"/>
                <a:gd name="connsiteX11" fmla="*/ 46874 w 236708"/>
                <a:gd name="connsiteY11" fmla="*/ 218094 h 326472"/>
                <a:gd name="connsiteX12" fmla="*/ 43498 w 236708"/>
                <a:gd name="connsiteY12" fmla="*/ 212088 h 326472"/>
                <a:gd name="connsiteX13" fmla="*/ 100 w 236708"/>
                <a:gd name="connsiteY13" fmla="*/ 123223 h 326472"/>
                <a:gd name="connsiteX14" fmla="*/ 0 w 236708"/>
                <a:gd name="connsiteY14" fmla="*/ 118354 h 326472"/>
                <a:gd name="connsiteX15" fmla="*/ 63 w 236708"/>
                <a:gd name="connsiteY15" fmla="*/ 114448 h 326472"/>
                <a:gd name="connsiteX16" fmla="*/ 118354 w 236708"/>
                <a:gd name="connsiteY16" fmla="*/ 0 h 326472"/>
                <a:gd name="connsiteX17" fmla="*/ 152881 w 236708"/>
                <a:gd name="connsiteY17" fmla="*/ 269326 h 326472"/>
                <a:gd name="connsiteX18" fmla="*/ 83811 w 236708"/>
                <a:gd name="connsiteY18" fmla="*/ 269326 h 326472"/>
                <a:gd name="connsiteX19" fmla="*/ 89174 w 236708"/>
                <a:gd name="connsiteY19" fmla="*/ 292494 h 326472"/>
                <a:gd name="connsiteX20" fmla="*/ 99419 w 236708"/>
                <a:gd name="connsiteY20" fmla="*/ 301869 h 326472"/>
                <a:gd name="connsiteX21" fmla="*/ 101104 w 236708"/>
                <a:gd name="connsiteY21" fmla="*/ 301985 h 326472"/>
                <a:gd name="connsiteX22" fmla="*/ 135610 w 236708"/>
                <a:gd name="connsiteY22" fmla="*/ 301985 h 326472"/>
                <a:gd name="connsiteX23" fmla="*/ 147048 w 236708"/>
                <a:gd name="connsiteY23" fmla="*/ 294114 h 326472"/>
                <a:gd name="connsiteX24" fmla="*/ 147540 w 236708"/>
                <a:gd name="connsiteY24" fmla="*/ 292497 h 326472"/>
                <a:gd name="connsiteX25" fmla="*/ 152881 w 236708"/>
                <a:gd name="connsiteY25" fmla="*/ 269326 h 326472"/>
                <a:gd name="connsiteX26" fmla="*/ 118354 w 236708"/>
                <a:gd name="connsiteY26" fmla="*/ 24487 h 326472"/>
                <a:gd name="connsiteX27" fmla="*/ 24555 w 236708"/>
                <a:gd name="connsiteY27" fmla="*/ 114754 h 326472"/>
                <a:gd name="connsiteX28" fmla="*/ 24487 w 236708"/>
                <a:gd name="connsiteY28" fmla="*/ 118354 h 326472"/>
                <a:gd name="connsiteX29" fmla="*/ 24597 w 236708"/>
                <a:gd name="connsiteY29" fmla="*/ 122877 h 326472"/>
                <a:gd name="connsiteX30" fmla="*/ 60608 w 236708"/>
                <a:gd name="connsiteY30" fmla="*/ 194570 h 326472"/>
                <a:gd name="connsiteX31" fmla="*/ 69939 w 236708"/>
                <a:gd name="connsiteY31" fmla="*/ 209692 h 326472"/>
                <a:gd name="connsiteX32" fmla="*/ 70734 w 236708"/>
                <a:gd name="connsiteY32" fmla="*/ 212589 h 326472"/>
                <a:gd name="connsiteX33" fmla="*/ 78163 w 236708"/>
                <a:gd name="connsiteY33" fmla="*/ 244839 h 326472"/>
                <a:gd name="connsiteX34" fmla="*/ 158530 w 236708"/>
                <a:gd name="connsiteY34" fmla="*/ 244839 h 326472"/>
                <a:gd name="connsiteX35" fmla="*/ 166005 w 236708"/>
                <a:gd name="connsiteY35" fmla="*/ 212578 h 326472"/>
                <a:gd name="connsiteX36" fmla="*/ 174061 w 236708"/>
                <a:gd name="connsiteY36" fmla="*/ 196761 h 326472"/>
                <a:gd name="connsiteX37" fmla="*/ 176121 w 236708"/>
                <a:gd name="connsiteY37" fmla="*/ 194577 h 326472"/>
                <a:gd name="connsiteX38" fmla="*/ 212112 w 236708"/>
                <a:gd name="connsiteY38" fmla="*/ 122877 h 326472"/>
                <a:gd name="connsiteX39" fmla="*/ 212222 w 236708"/>
                <a:gd name="connsiteY39" fmla="*/ 118354 h 326472"/>
                <a:gd name="connsiteX40" fmla="*/ 212153 w 236708"/>
                <a:gd name="connsiteY40" fmla="*/ 114754 h 326472"/>
                <a:gd name="connsiteX41" fmla="*/ 118354 w 236708"/>
                <a:gd name="connsiteY41" fmla="*/ 24487 h 3264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36708" h="326472">
                  <a:moveTo>
                    <a:pt x="118354" y="0"/>
                  </a:moveTo>
                  <a:cubicBezTo>
                    <a:pt x="183720" y="0"/>
                    <a:pt x="236709" y="52989"/>
                    <a:pt x="236709" y="118354"/>
                  </a:cubicBezTo>
                  <a:cubicBezTo>
                    <a:pt x="236709" y="152571"/>
                    <a:pt x="222005" y="183975"/>
                    <a:pt x="193234" y="212090"/>
                  </a:cubicBezTo>
                  <a:cubicBezTo>
                    <a:pt x="191979" y="213317"/>
                    <a:pt x="191006" y="214795"/>
                    <a:pt x="190376" y="216421"/>
                  </a:cubicBezTo>
                  <a:lnTo>
                    <a:pt x="189863" y="218091"/>
                  </a:lnTo>
                  <a:lnTo>
                    <a:pt x="171398" y="298010"/>
                  </a:lnTo>
                  <a:cubicBezTo>
                    <a:pt x="167763" y="313746"/>
                    <a:pt x="154326" y="325145"/>
                    <a:pt x="138437" y="326365"/>
                  </a:cubicBezTo>
                  <a:lnTo>
                    <a:pt x="135610" y="326472"/>
                  </a:lnTo>
                  <a:lnTo>
                    <a:pt x="101104" y="326472"/>
                  </a:lnTo>
                  <a:cubicBezTo>
                    <a:pt x="84950" y="326472"/>
                    <a:pt x="70815" y="315941"/>
                    <a:pt x="66055" y="300732"/>
                  </a:cubicBezTo>
                  <a:lnTo>
                    <a:pt x="65313" y="298001"/>
                  </a:lnTo>
                  <a:lnTo>
                    <a:pt x="46874" y="218094"/>
                  </a:lnTo>
                  <a:cubicBezTo>
                    <a:pt x="46347" y="215810"/>
                    <a:pt x="45175" y="213726"/>
                    <a:pt x="43498" y="212088"/>
                  </a:cubicBezTo>
                  <a:cubicBezTo>
                    <a:pt x="16082" y="185312"/>
                    <a:pt x="1433" y="155554"/>
                    <a:pt x="100" y="123223"/>
                  </a:cubicBezTo>
                  <a:lnTo>
                    <a:pt x="0" y="118354"/>
                  </a:lnTo>
                  <a:lnTo>
                    <a:pt x="63" y="114448"/>
                  </a:lnTo>
                  <a:cubicBezTo>
                    <a:pt x="2125" y="50891"/>
                    <a:pt x="54296" y="0"/>
                    <a:pt x="118354" y="0"/>
                  </a:cubicBezTo>
                  <a:close/>
                  <a:moveTo>
                    <a:pt x="152881" y="269326"/>
                  </a:moveTo>
                  <a:lnTo>
                    <a:pt x="83811" y="269326"/>
                  </a:lnTo>
                  <a:lnTo>
                    <a:pt x="89174" y="292494"/>
                  </a:lnTo>
                  <a:cubicBezTo>
                    <a:pt x="90326" y="297494"/>
                    <a:pt x="94450" y="301182"/>
                    <a:pt x="99419" y="301869"/>
                  </a:cubicBezTo>
                  <a:lnTo>
                    <a:pt x="101104" y="301985"/>
                  </a:lnTo>
                  <a:lnTo>
                    <a:pt x="135610" y="301985"/>
                  </a:lnTo>
                  <a:cubicBezTo>
                    <a:pt x="140741" y="301985"/>
                    <a:pt x="145259" y="298799"/>
                    <a:pt x="147048" y="294114"/>
                  </a:cubicBezTo>
                  <a:lnTo>
                    <a:pt x="147540" y="292497"/>
                  </a:lnTo>
                  <a:lnTo>
                    <a:pt x="152881" y="269326"/>
                  </a:lnTo>
                  <a:close/>
                  <a:moveTo>
                    <a:pt x="118354" y="24487"/>
                  </a:moveTo>
                  <a:cubicBezTo>
                    <a:pt x="67718" y="24487"/>
                    <a:pt x="26447" y="64581"/>
                    <a:pt x="24555" y="114754"/>
                  </a:cubicBezTo>
                  <a:lnTo>
                    <a:pt x="24487" y="118354"/>
                  </a:lnTo>
                  <a:lnTo>
                    <a:pt x="24597" y="122877"/>
                  </a:lnTo>
                  <a:cubicBezTo>
                    <a:pt x="25840" y="148397"/>
                    <a:pt x="37665" y="172163"/>
                    <a:pt x="60608" y="194570"/>
                  </a:cubicBezTo>
                  <a:cubicBezTo>
                    <a:pt x="64919" y="198782"/>
                    <a:pt x="68117" y="203978"/>
                    <a:pt x="69939" y="209692"/>
                  </a:cubicBezTo>
                  <a:lnTo>
                    <a:pt x="70734" y="212589"/>
                  </a:lnTo>
                  <a:lnTo>
                    <a:pt x="78163" y="244839"/>
                  </a:lnTo>
                  <a:lnTo>
                    <a:pt x="158530" y="244839"/>
                  </a:lnTo>
                  <a:lnTo>
                    <a:pt x="166005" y="212578"/>
                  </a:lnTo>
                  <a:cubicBezTo>
                    <a:pt x="167360" y="206711"/>
                    <a:pt x="170133" y="201283"/>
                    <a:pt x="174061" y="196761"/>
                  </a:cubicBezTo>
                  <a:lnTo>
                    <a:pt x="176121" y="194577"/>
                  </a:lnTo>
                  <a:cubicBezTo>
                    <a:pt x="199051" y="172169"/>
                    <a:pt x="210870" y="148402"/>
                    <a:pt x="212112" y="122877"/>
                  </a:cubicBezTo>
                  <a:lnTo>
                    <a:pt x="212222" y="118354"/>
                  </a:lnTo>
                  <a:lnTo>
                    <a:pt x="212153" y="114754"/>
                  </a:lnTo>
                  <a:cubicBezTo>
                    <a:pt x="210261" y="64581"/>
                    <a:pt x="168991" y="24487"/>
                    <a:pt x="118354" y="24487"/>
                  </a:cubicBezTo>
                  <a:close/>
                </a:path>
              </a:pathLst>
            </a:custGeom>
            <a:gradFill flip="none" rotWithShape="1">
              <a:gsLst>
                <a:gs pos="0">
                  <a:srgbClr val="0078D4"/>
                </a:gs>
                <a:gs pos="100000">
                  <a:srgbClr val="C53FCC"/>
                </a:gs>
              </a:gsLst>
              <a:lin ang="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lIns="704088" tIns="45720" rIns="91440" bIns="45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white"/>
                </a:solidFill>
                <a:effectLst/>
                <a:uLnTx/>
                <a:uFillTx/>
                <a:latin typeface="Segoe UI Semibold"/>
                <a:ea typeface="+mn-ea"/>
                <a:cs typeface="+mn-cs"/>
              </a:endParaRPr>
            </a:p>
          </p:txBody>
        </p:sp>
      </p:grpSp>
      <p:sp>
        <p:nvSpPr>
          <p:cNvPr id="10" name="Title 9">
            <a:extLst>
              <a:ext uri="{FF2B5EF4-FFF2-40B4-BE49-F238E27FC236}">
                <a16:creationId xmlns:a16="http://schemas.microsoft.com/office/drawing/2014/main" id="{CC2A53BF-868F-7FDC-97C9-516D5A83EE6B}"/>
              </a:ext>
            </a:extLst>
          </p:cNvPr>
          <p:cNvSpPr>
            <a:spLocks noGrp="1"/>
          </p:cNvSpPr>
          <p:nvPr>
            <p:ph type="title"/>
          </p:nvPr>
        </p:nvSpPr>
        <p:spPr/>
        <p:txBody>
          <a:bodyPr/>
          <a:lstStyle/>
          <a:p>
            <a:pPr algn="l"/>
            <a:r>
              <a:rPr lang="en-US" dirty="0"/>
              <a:t>Contents</a:t>
            </a:r>
            <a:endParaRPr lang="en-GB" dirty="0"/>
          </a:p>
        </p:txBody>
      </p:sp>
      <p:sp>
        <p:nvSpPr>
          <p:cNvPr id="58" name="TextBox 7, chunk 1, chunk 1">
            <a:extLst>
              <a:ext uri="{FF2B5EF4-FFF2-40B4-BE49-F238E27FC236}">
                <a16:creationId xmlns:a16="http://schemas.microsoft.com/office/drawing/2014/main" id="{83B552A2-A627-950E-45F4-CEEB7930B29B}"/>
              </a:ext>
            </a:extLst>
          </p:cNvPr>
          <p:cNvSpPr txBox="1"/>
          <p:nvPr/>
        </p:nvSpPr>
        <p:spPr>
          <a:xfrm>
            <a:off x="1522748" y="2948281"/>
            <a:ext cx="4251101" cy="307777"/>
          </a:xfrm>
          <a:prstGeom prst="rect">
            <a:avLst/>
          </a:prstGeom>
          <a:noFill/>
        </p:spPr>
        <p:txBody>
          <a:bodyPr wrap="square" lIns="0" tIns="0" rIns="0" bIns="0" numCol="1" rtlCol="0" anchor="ctr">
            <a:spAutoFit/>
          </a:bodyPr>
          <a:lstStyle>
            <a:defPPr>
              <a:defRPr lang="en-US"/>
            </a:defPPr>
            <a:lvl1pPr marR="0" lvl="0" indent="0" fontAlgn="auto">
              <a:lnSpc>
                <a:spcPct val="100000"/>
              </a:lnSpc>
              <a:spcBef>
                <a:spcPts val="0"/>
              </a:spcBef>
              <a:spcAft>
                <a:spcPts val="0"/>
              </a:spcAft>
              <a:buClrTx/>
              <a:buSzTx/>
              <a:buFontTx/>
              <a:buNone/>
              <a:tabLst/>
              <a:defRPr kumimoji="0" sz="2000" b="0" i="0" u="none" strike="noStrike" kern="0" cap="none" spc="0" normalizeH="0" baseline="0">
                <a:ln>
                  <a:noFill/>
                </a:ln>
                <a:solidFill>
                  <a:prstClr val="black"/>
                </a:solidFill>
                <a:effectLst/>
                <a:uLnTx/>
                <a:uFillTx/>
                <a:latin typeface="Segoe UI"/>
              </a:defRPr>
            </a:lvl1pPr>
          </a:lstStyle>
          <a:p>
            <a:pPr>
              <a:defRPr/>
            </a:pPr>
            <a:r>
              <a:rPr lang="en-US" dirty="0"/>
              <a:t>Why you should run a Hackathon</a:t>
            </a:r>
            <a:endParaRPr lang="en-US" dirty="0">
              <a:cs typeface="Segoe UI"/>
            </a:endParaRPr>
          </a:p>
        </p:txBody>
      </p:sp>
      <p:sp>
        <p:nvSpPr>
          <p:cNvPr id="59" name="TextBox 7, chunk 1, chunk 2">
            <a:extLst>
              <a:ext uri="{FF2B5EF4-FFF2-40B4-BE49-F238E27FC236}">
                <a16:creationId xmlns:a16="http://schemas.microsoft.com/office/drawing/2014/main" id="{A9EF4743-876F-D372-8256-5272842DF5A4}"/>
              </a:ext>
            </a:extLst>
          </p:cNvPr>
          <p:cNvSpPr txBox="1"/>
          <p:nvPr/>
        </p:nvSpPr>
        <p:spPr>
          <a:xfrm>
            <a:off x="1522748" y="3938204"/>
            <a:ext cx="4251101" cy="307777"/>
          </a:xfrm>
          <a:prstGeom prst="rect">
            <a:avLst/>
          </a:prstGeom>
          <a:noFill/>
        </p:spPr>
        <p:txBody>
          <a:bodyPr wrap="square" lIns="0" tIns="0" rIns="0" bIns="0" numCol="1" rtlCol="0" anchor="ctr">
            <a:spAutoFit/>
          </a:bodyPr>
          <a:lstStyle>
            <a:defPPr>
              <a:defRPr lang="en-US"/>
            </a:defPPr>
            <a:lvl1pPr marR="0" lvl="0" indent="0" fontAlgn="auto">
              <a:lnSpc>
                <a:spcPct val="100000"/>
              </a:lnSpc>
              <a:spcBef>
                <a:spcPts val="0"/>
              </a:spcBef>
              <a:spcAft>
                <a:spcPts val="0"/>
              </a:spcAft>
              <a:buClrTx/>
              <a:buSzTx/>
              <a:buFontTx/>
              <a:buNone/>
              <a:tabLst/>
              <a:defRPr kumimoji="0" sz="2000" b="0" i="0" u="none" strike="noStrike" kern="0" cap="none" spc="0" normalizeH="0" baseline="0">
                <a:ln>
                  <a:noFill/>
                </a:ln>
                <a:solidFill>
                  <a:prstClr val="black"/>
                </a:solidFill>
                <a:effectLst/>
                <a:uLnTx/>
                <a:uFillTx/>
                <a:latin typeface="Segoe UI"/>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a:ln>
                  <a:noFill/>
                </a:ln>
                <a:solidFill>
                  <a:prstClr val="black"/>
                </a:solidFill>
                <a:effectLst/>
                <a:uLnTx/>
                <a:uFillTx/>
                <a:latin typeface="Segoe UI"/>
                <a:ea typeface="+mn-ea"/>
                <a:cs typeface="+mn-cs"/>
              </a:rPr>
              <a:t>Agent Hackathon objectives</a:t>
            </a:r>
          </a:p>
        </p:txBody>
      </p:sp>
      <p:sp>
        <p:nvSpPr>
          <p:cNvPr id="61" name="TextBox 7, chunk 1, chunk 4">
            <a:extLst>
              <a:ext uri="{FF2B5EF4-FFF2-40B4-BE49-F238E27FC236}">
                <a16:creationId xmlns:a16="http://schemas.microsoft.com/office/drawing/2014/main" id="{4D391137-EC8E-F59D-E52E-9F5DDF30B990}"/>
              </a:ext>
            </a:extLst>
          </p:cNvPr>
          <p:cNvSpPr txBox="1"/>
          <p:nvPr/>
        </p:nvSpPr>
        <p:spPr>
          <a:xfrm>
            <a:off x="1522748" y="4894859"/>
            <a:ext cx="4251101" cy="307777"/>
          </a:xfrm>
          <a:prstGeom prst="rect">
            <a:avLst/>
          </a:prstGeom>
          <a:noFill/>
        </p:spPr>
        <p:txBody>
          <a:bodyPr wrap="square" lIns="0" tIns="0" rIns="0" bIns="0" numCol="1" rtlCol="0" anchor="ctr">
            <a:spAutoFit/>
          </a:bodyPr>
          <a:lstStyle>
            <a:defPPr>
              <a:defRPr lang="en-US"/>
            </a:defPPr>
            <a:lvl1pPr marR="0" lvl="0" indent="0" fontAlgn="auto">
              <a:lnSpc>
                <a:spcPct val="100000"/>
              </a:lnSpc>
              <a:spcBef>
                <a:spcPts val="0"/>
              </a:spcBef>
              <a:spcAft>
                <a:spcPts val="0"/>
              </a:spcAft>
              <a:buClrTx/>
              <a:buSzTx/>
              <a:buFontTx/>
              <a:buNone/>
              <a:tabLst/>
              <a:defRPr kumimoji="0" sz="2000" b="0" i="0" u="none" strike="noStrike" kern="0" cap="none" spc="0" normalizeH="0" baseline="0">
                <a:ln>
                  <a:noFill/>
                </a:ln>
                <a:solidFill>
                  <a:prstClr val="black"/>
                </a:solidFill>
                <a:effectLst/>
                <a:uLnTx/>
                <a:uFillTx/>
                <a:latin typeface="Segoe UI"/>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dirty="0">
                <a:ln>
                  <a:noFill/>
                </a:ln>
                <a:solidFill>
                  <a:prstClr val="black"/>
                </a:solidFill>
                <a:effectLst/>
                <a:uLnTx/>
                <a:uFillTx/>
                <a:latin typeface="Segoe UI"/>
                <a:ea typeface="+mn-ea"/>
                <a:cs typeface="+mn-cs"/>
              </a:rPr>
              <a:t>Event agenda</a:t>
            </a:r>
          </a:p>
        </p:txBody>
      </p:sp>
      <p:sp>
        <p:nvSpPr>
          <p:cNvPr id="103" name="TextBox 7, chunk 1, chunk 1">
            <a:extLst>
              <a:ext uri="{FF2B5EF4-FFF2-40B4-BE49-F238E27FC236}">
                <a16:creationId xmlns:a16="http://schemas.microsoft.com/office/drawing/2014/main" id="{E36C11B8-37A0-5F84-9379-DFD3B0F56759}"/>
              </a:ext>
            </a:extLst>
          </p:cNvPr>
          <p:cNvSpPr txBox="1"/>
          <p:nvPr/>
        </p:nvSpPr>
        <p:spPr>
          <a:xfrm>
            <a:off x="7184884" y="2915013"/>
            <a:ext cx="4251101" cy="307777"/>
          </a:xfrm>
          <a:prstGeom prst="rect">
            <a:avLst/>
          </a:prstGeom>
          <a:noFill/>
        </p:spPr>
        <p:txBody>
          <a:bodyPr wrap="square" lIns="0" tIns="0" rIns="0" bIns="0" numCol="1" rtlCol="0" anchor="ctr">
            <a:spAutoFit/>
          </a:bodyPr>
          <a:lstStyle>
            <a:defPPr>
              <a:defRPr lang="en-US"/>
            </a:defPPr>
            <a:lvl1pPr marR="0" lvl="0" indent="0" fontAlgn="auto">
              <a:lnSpc>
                <a:spcPct val="100000"/>
              </a:lnSpc>
              <a:spcBef>
                <a:spcPts val="0"/>
              </a:spcBef>
              <a:spcAft>
                <a:spcPts val="0"/>
              </a:spcAft>
              <a:buClrTx/>
              <a:buSzTx/>
              <a:buFontTx/>
              <a:buNone/>
              <a:tabLst/>
              <a:defRPr kumimoji="0" sz="2000" b="0" i="0" u="none" strike="noStrike" kern="0" cap="none" spc="0" normalizeH="0" baseline="0">
                <a:ln>
                  <a:noFill/>
                </a:ln>
                <a:solidFill>
                  <a:prstClr val="black"/>
                </a:solidFill>
                <a:effectLst/>
                <a:uLnTx/>
                <a:uFillTx/>
                <a:latin typeface="Segoe UI"/>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a:ln>
                  <a:noFill/>
                </a:ln>
                <a:solidFill>
                  <a:prstClr val="black"/>
                </a:solidFill>
                <a:effectLst/>
                <a:uLnTx/>
                <a:uFillTx/>
                <a:latin typeface="Segoe UI"/>
                <a:ea typeface="+mn-ea"/>
                <a:cs typeface="+mn-cs"/>
              </a:rPr>
              <a:t>Attendee requirements</a:t>
            </a:r>
          </a:p>
        </p:txBody>
      </p:sp>
      <p:sp>
        <p:nvSpPr>
          <p:cNvPr id="101" name="TextBox 7, chunk 1, chunk 2">
            <a:extLst>
              <a:ext uri="{FF2B5EF4-FFF2-40B4-BE49-F238E27FC236}">
                <a16:creationId xmlns:a16="http://schemas.microsoft.com/office/drawing/2014/main" id="{9A14B214-A867-F2E7-2E1A-8AED572A39D3}"/>
              </a:ext>
            </a:extLst>
          </p:cNvPr>
          <p:cNvSpPr txBox="1"/>
          <p:nvPr/>
        </p:nvSpPr>
        <p:spPr>
          <a:xfrm>
            <a:off x="7184884" y="3888302"/>
            <a:ext cx="4251101" cy="307777"/>
          </a:xfrm>
          <a:prstGeom prst="rect">
            <a:avLst/>
          </a:prstGeom>
          <a:noFill/>
        </p:spPr>
        <p:txBody>
          <a:bodyPr wrap="square" lIns="0" tIns="0" rIns="0" bIns="0" numCol="1" rtlCol="0" anchor="ctr">
            <a:spAutoFit/>
          </a:bodyPr>
          <a:lstStyle>
            <a:defPPr>
              <a:defRPr lang="en-US"/>
            </a:defPPr>
            <a:lvl1pPr marR="0" lvl="0" indent="0" fontAlgn="auto">
              <a:lnSpc>
                <a:spcPct val="100000"/>
              </a:lnSpc>
              <a:spcBef>
                <a:spcPts val="0"/>
              </a:spcBef>
              <a:spcAft>
                <a:spcPts val="0"/>
              </a:spcAft>
              <a:buClrTx/>
              <a:buSzTx/>
              <a:buFontTx/>
              <a:buNone/>
              <a:tabLst/>
              <a:defRPr kumimoji="0" sz="2000" b="0" i="0" u="none" strike="noStrike" kern="0" cap="none" spc="0" normalizeH="0" baseline="0">
                <a:ln>
                  <a:noFill/>
                </a:ln>
                <a:solidFill>
                  <a:prstClr val="black"/>
                </a:solidFill>
                <a:effectLst/>
                <a:uLnTx/>
                <a:uFillTx/>
                <a:latin typeface="Segoe UI"/>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a:ln>
                  <a:noFill/>
                </a:ln>
                <a:solidFill>
                  <a:prstClr val="black"/>
                </a:solidFill>
                <a:effectLst/>
                <a:uLnTx/>
                <a:uFillTx/>
                <a:latin typeface="Segoe UI"/>
                <a:ea typeface="+mn-ea"/>
                <a:cs typeface="+mn-cs"/>
              </a:rPr>
              <a:t>Speakers &amp; supporting team</a:t>
            </a:r>
          </a:p>
        </p:txBody>
      </p:sp>
      <p:sp>
        <p:nvSpPr>
          <p:cNvPr id="99" name="TextBox 7, chunk 1, chunk 4">
            <a:extLst>
              <a:ext uri="{FF2B5EF4-FFF2-40B4-BE49-F238E27FC236}">
                <a16:creationId xmlns:a16="http://schemas.microsoft.com/office/drawing/2014/main" id="{40A75C83-1F6E-28C9-D2A9-D0A5EC1F4592}"/>
              </a:ext>
            </a:extLst>
          </p:cNvPr>
          <p:cNvSpPr txBox="1"/>
          <p:nvPr/>
        </p:nvSpPr>
        <p:spPr>
          <a:xfrm>
            <a:off x="7184884" y="4861591"/>
            <a:ext cx="4251101" cy="307777"/>
          </a:xfrm>
          <a:prstGeom prst="rect">
            <a:avLst/>
          </a:prstGeom>
          <a:noFill/>
        </p:spPr>
        <p:txBody>
          <a:bodyPr wrap="square" lIns="0" tIns="0" rIns="0" bIns="0" numCol="1" rtlCol="0" anchor="ctr">
            <a:spAutoFit/>
          </a:bodyPr>
          <a:lstStyle>
            <a:defPPr>
              <a:defRPr lang="en-US"/>
            </a:defPPr>
            <a:lvl1pPr marR="0" lvl="0" indent="0" fontAlgn="auto">
              <a:lnSpc>
                <a:spcPct val="100000"/>
              </a:lnSpc>
              <a:spcBef>
                <a:spcPts val="0"/>
              </a:spcBef>
              <a:spcAft>
                <a:spcPts val="0"/>
              </a:spcAft>
              <a:buClrTx/>
              <a:buSzTx/>
              <a:buFontTx/>
              <a:buNone/>
              <a:tabLst/>
              <a:defRPr kumimoji="0" sz="2000" b="0" i="0" u="none" strike="noStrike" kern="0" cap="none" spc="0" normalizeH="0" baseline="0">
                <a:ln>
                  <a:noFill/>
                </a:ln>
                <a:solidFill>
                  <a:prstClr val="black"/>
                </a:solidFill>
                <a:effectLst/>
                <a:uLnTx/>
                <a:uFillTx/>
                <a:latin typeface="Segoe UI"/>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a:ln>
                  <a:noFill/>
                </a:ln>
                <a:solidFill>
                  <a:prstClr val="black"/>
                </a:solidFill>
                <a:effectLst/>
                <a:uLnTx/>
                <a:uFillTx/>
                <a:latin typeface="Segoe UI"/>
                <a:ea typeface="+mn-ea"/>
                <a:cs typeface="+mn-cs"/>
              </a:rPr>
              <a:t>Event recommendations</a:t>
            </a:r>
          </a:p>
        </p:txBody>
      </p:sp>
    </p:spTree>
    <p:extLst>
      <p:ext uri="{BB962C8B-B14F-4D97-AF65-F5344CB8AC3E}">
        <p14:creationId xmlns:p14="http://schemas.microsoft.com/office/powerpoint/2010/main" val="106868111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00"/>
                                  </p:stCondLst>
                                  <p:childTnLst>
                                    <p:set>
                                      <p:cBhvr>
                                        <p:cTn id="6" dur="1" fill="hold">
                                          <p:stCondLst>
                                            <p:cond delay="0"/>
                                          </p:stCondLst>
                                        </p:cTn>
                                        <p:tgtEl>
                                          <p:spTgt spid="46"/>
                                        </p:tgtEl>
                                        <p:attrNameLst>
                                          <p:attrName>style.visibility</p:attrName>
                                        </p:attrNameLst>
                                      </p:cBhvr>
                                      <p:to>
                                        <p:strVal val="visible"/>
                                      </p:to>
                                    </p:set>
                                    <p:animEffect transition="in" filter="fade">
                                      <p:cBhvr>
                                        <p:cTn id="7" dur="500"/>
                                        <p:tgtEl>
                                          <p:spTgt spid="46"/>
                                        </p:tgtEl>
                                      </p:cBhvr>
                                    </p:animEffect>
                                  </p:childTnLst>
                                </p:cTn>
                              </p:par>
                              <p:par>
                                <p:cTn id="8" presetID="42" presetClass="path" presetSubtype="0" decel="100000" fill="hold" grpId="1" nodeType="withEffect">
                                  <p:stCondLst>
                                    <p:cond delay="200"/>
                                  </p:stCondLst>
                                  <p:childTnLst>
                                    <p:animMotion origin="layout" path="M -1.04167E-6 7.40741E-7 L -1.04167E-6 0.03542 " pathEditMode="relative" rAng="0" ptsTypes="AA">
                                      <p:cBhvr>
                                        <p:cTn id="9" dur="700" spd="-100000" fill="hold"/>
                                        <p:tgtEl>
                                          <p:spTgt spid="46"/>
                                        </p:tgtEl>
                                        <p:attrNameLst>
                                          <p:attrName>ppt_x</p:attrName>
                                          <p:attrName>ppt_y</p:attrName>
                                        </p:attrNameLst>
                                      </p:cBhvr>
                                      <p:rCtr x="0" y="1759"/>
                                    </p:animMotion>
                                  </p:childTnLst>
                                </p:cTn>
                              </p:par>
                              <p:par>
                                <p:cTn id="10" presetID="10" presetClass="entr" presetSubtype="0" fill="hold" grpId="0" nodeType="withEffect">
                                  <p:stCondLst>
                                    <p:cond delay="200"/>
                                  </p:stCondLst>
                                  <p:childTnLst>
                                    <p:set>
                                      <p:cBhvr>
                                        <p:cTn id="11" dur="1" fill="hold">
                                          <p:stCondLst>
                                            <p:cond delay="0"/>
                                          </p:stCondLst>
                                        </p:cTn>
                                        <p:tgtEl>
                                          <p:spTgt spid="47"/>
                                        </p:tgtEl>
                                        <p:attrNameLst>
                                          <p:attrName>style.visibility</p:attrName>
                                        </p:attrNameLst>
                                      </p:cBhvr>
                                      <p:to>
                                        <p:strVal val="visible"/>
                                      </p:to>
                                    </p:set>
                                    <p:animEffect transition="in" filter="fade">
                                      <p:cBhvr>
                                        <p:cTn id="12" dur="500"/>
                                        <p:tgtEl>
                                          <p:spTgt spid="47"/>
                                        </p:tgtEl>
                                      </p:cBhvr>
                                    </p:animEffect>
                                  </p:childTnLst>
                                </p:cTn>
                              </p:par>
                              <p:par>
                                <p:cTn id="13" presetID="42" presetClass="path" presetSubtype="0" decel="100000" fill="hold" grpId="1" nodeType="withEffect">
                                  <p:stCondLst>
                                    <p:cond delay="200"/>
                                  </p:stCondLst>
                                  <p:childTnLst>
                                    <p:animMotion origin="layout" path="M -1.04167E-6 7.40741E-7 L -1.04167E-6 0.03542 " pathEditMode="relative" rAng="0" ptsTypes="AA">
                                      <p:cBhvr>
                                        <p:cTn id="14" dur="700" spd="-100000" fill="hold"/>
                                        <p:tgtEl>
                                          <p:spTgt spid="47"/>
                                        </p:tgtEl>
                                        <p:attrNameLst>
                                          <p:attrName>ppt_x</p:attrName>
                                          <p:attrName>ppt_y</p:attrName>
                                        </p:attrNameLst>
                                      </p:cBhvr>
                                      <p:rCtr x="0" y="175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6" grpId="0" animBg="1"/>
      <p:bldP spid="46" grpId="1" animBg="1"/>
      <p:bldP spid="47" grpId="0" animBg="1"/>
      <p:bldP spid="47" grpId="1" animBg="1"/>
    </p:bldLst>
  </p:timing>
</p:sld>
</file>

<file path=ppt/slides/slide3.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38" name="Picture 37">
            <a:extLst>
              <a:ext uri="{FF2B5EF4-FFF2-40B4-BE49-F238E27FC236}">
                <a16:creationId xmlns:a16="http://schemas.microsoft.com/office/drawing/2014/main" id="{3632FA1C-B572-88FB-02CA-5EF6CC11A83B}"/>
              </a:ext>
              <a:ext uri="{C183D7F6-B498-43B3-948B-1728B52AA6E4}">
                <adec:decorative xmlns:adec="http://schemas.microsoft.com/office/drawing/2017/decorative" val="1"/>
              </a:ext>
            </a:extLst>
          </p:cNvPr>
          <p:cNvPicPr>
            <a:picLocks noChangeAspect="1"/>
          </p:cNvPicPr>
          <p:nvPr/>
        </p:nvPicPr>
        <p:blipFill>
          <a:blip r:embed="rId4" cstate="screen">
            <a:extLst>
              <a:ext uri="{28A0092B-C50C-407E-A947-70E740481C1C}">
                <a14:useLocalDpi xmlns:a14="http://schemas.microsoft.com/office/drawing/2010/main"/>
              </a:ext>
            </a:extLst>
          </a:blip>
          <a:srcRect/>
          <a:stretch>
            <a:fillRect/>
          </a:stretch>
        </p:blipFill>
        <p:spPr>
          <a:xfrm>
            <a:off x="8564811" y="0"/>
            <a:ext cx="3627189" cy="2380343"/>
          </a:xfrm>
          <a:prstGeom prst="rect">
            <a:avLst/>
          </a:prstGeom>
        </p:spPr>
      </p:pic>
      <p:sp>
        <p:nvSpPr>
          <p:cNvPr id="2" name="Rectangle: Rounded Corners 50">
            <a:extLst>
              <a:ext uri="{FF2B5EF4-FFF2-40B4-BE49-F238E27FC236}">
                <a16:creationId xmlns:a16="http://schemas.microsoft.com/office/drawing/2014/main" id="{1764E669-DD44-9C6D-5150-D6A2B65091E8}"/>
              </a:ext>
              <a:ext uri="{C183D7F6-B498-43B3-948B-1728B52AA6E4}">
                <adec:decorative xmlns:adec="http://schemas.microsoft.com/office/drawing/2017/decorative" val="1"/>
              </a:ext>
            </a:extLst>
          </p:cNvPr>
          <p:cNvSpPr>
            <a:spLocks/>
          </p:cNvSpPr>
          <p:nvPr/>
        </p:nvSpPr>
        <p:spPr bwMode="auto">
          <a:xfrm>
            <a:off x="512025" y="2001766"/>
            <a:ext cx="11185072" cy="4284734"/>
          </a:xfrm>
          <a:prstGeom prst="roundRect">
            <a:avLst>
              <a:gd name="adj" fmla="val 3527"/>
            </a:avLst>
          </a:prstGeom>
          <a:solidFill>
            <a:schemeClr val="bg1"/>
          </a:solidFill>
          <a:ln>
            <a:noFill/>
          </a:ln>
          <a:effectLst>
            <a:outerShdw blurRad="228600" dist="63500" dir="2700000" algn="tl" rotWithShape="0">
              <a:prstClr val="black">
                <a:alpha val="1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base" latinLnBrk="0" hangingPunct="1">
              <a:lnSpc>
                <a:spcPct val="100000"/>
              </a:lnSpc>
              <a:spcBef>
                <a:spcPct val="0"/>
              </a:spcBef>
              <a:spcAft>
                <a:spcPts val="1200"/>
              </a:spcAft>
              <a:buClrTx/>
              <a:buSzTx/>
              <a:buFontTx/>
              <a:buNone/>
              <a:tabLst>
                <a:tab pos="457200" algn="l"/>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cxnSp>
        <p:nvCxnSpPr>
          <p:cNvPr id="21" name="Straight Connector 20">
            <a:extLst>
              <a:ext uri="{FF2B5EF4-FFF2-40B4-BE49-F238E27FC236}">
                <a16:creationId xmlns:a16="http://schemas.microsoft.com/office/drawing/2014/main" id="{0ABB9ADD-F91D-6A18-1816-271B96BB39A5}"/>
              </a:ext>
              <a:ext uri="{C183D7F6-B498-43B3-948B-1728B52AA6E4}">
                <adec:decorative xmlns:adec="http://schemas.microsoft.com/office/drawing/2017/decorative" val="1"/>
              </a:ext>
            </a:extLst>
          </p:cNvPr>
          <p:cNvCxnSpPr>
            <a:cxnSpLocks/>
          </p:cNvCxnSpPr>
          <p:nvPr/>
        </p:nvCxnSpPr>
        <p:spPr>
          <a:xfrm>
            <a:off x="1522747" y="3862196"/>
            <a:ext cx="10016110" cy="0"/>
          </a:xfrm>
          <a:prstGeom prst="line">
            <a:avLst/>
          </a:prstGeom>
          <a:ln w="12700">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AD9B94D-AF08-A98B-3EC2-DA709C96E616}"/>
              </a:ext>
              <a:ext uri="{C183D7F6-B498-43B3-948B-1728B52AA6E4}">
                <adec:decorative xmlns:adec="http://schemas.microsoft.com/office/drawing/2017/decorative" val="1"/>
              </a:ext>
            </a:extLst>
          </p:cNvPr>
          <p:cNvCxnSpPr>
            <a:cxnSpLocks/>
          </p:cNvCxnSpPr>
          <p:nvPr/>
        </p:nvCxnSpPr>
        <p:spPr>
          <a:xfrm>
            <a:off x="1522747" y="5186921"/>
            <a:ext cx="10016110" cy="0"/>
          </a:xfrm>
          <a:prstGeom prst="line">
            <a:avLst/>
          </a:prstGeom>
          <a:ln w="12700">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43" name="Group 42">
            <a:extLst>
              <a:ext uri="{FF2B5EF4-FFF2-40B4-BE49-F238E27FC236}">
                <a16:creationId xmlns:a16="http://schemas.microsoft.com/office/drawing/2014/main" id="{9DB605B7-F5AE-6F60-D9C4-29E691F0CD7C}"/>
              </a:ext>
              <a:ext uri="{C183D7F6-B498-43B3-948B-1728B52AA6E4}">
                <adec:decorative xmlns:adec="http://schemas.microsoft.com/office/drawing/2017/decorative" val="1"/>
              </a:ext>
            </a:extLst>
          </p:cNvPr>
          <p:cNvGrpSpPr/>
          <p:nvPr/>
        </p:nvGrpSpPr>
        <p:grpSpPr>
          <a:xfrm>
            <a:off x="756015" y="2281662"/>
            <a:ext cx="549017" cy="549017"/>
            <a:chOff x="756015" y="1673775"/>
            <a:chExt cx="549017" cy="549017"/>
          </a:xfrm>
        </p:grpSpPr>
        <p:sp>
          <p:nvSpPr>
            <p:cNvPr id="4" name="Oval 3">
              <a:extLst>
                <a:ext uri="{FF2B5EF4-FFF2-40B4-BE49-F238E27FC236}">
                  <a16:creationId xmlns:a16="http://schemas.microsoft.com/office/drawing/2014/main" id="{E467633E-6739-16FB-B243-5D139CB13370}"/>
                </a:ext>
              </a:extLst>
            </p:cNvPr>
            <p:cNvSpPr>
              <a:spLocks/>
            </p:cNvSpPr>
            <p:nvPr/>
          </p:nvSpPr>
          <p:spPr bwMode="auto">
            <a:xfrm>
              <a:off x="756015" y="1673775"/>
              <a:ext cx="549017" cy="549017"/>
            </a:xfrm>
            <a:prstGeom prst="ellipse">
              <a:avLst/>
            </a:prstGeom>
            <a:solidFill>
              <a:schemeClr val="bg1"/>
            </a:solidFill>
            <a:ln w="19050">
              <a:gradFill>
                <a:gsLst>
                  <a:gs pos="100000">
                    <a:srgbClr val="C03BC4"/>
                  </a:gs>
                  <a:gs pos="0">
                    <a:srgbClr val="0078D4"/>
                  </a:gs>
                </a:gsLst>
                <a:lin ang="0" scaled="0"/>
              </a:gradFill>
            </a:ln>
            <a:effectLst>
              <a:outerShdw blurRad="177800" dist="25400" algn="tl" rotWithShape="0">
                <a:prstClr val="black">
                  <a:alpha val="5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40" name="Graphic 9" descr="Icon of a warning sign">
              <a:extLst>
                <a:ext uri="{FF2B5EF4-FFF2-40B4-BE49-F238E27FC236}">
                  <a16:creationId xmlns:a16="http://schemas.microsoft.com/office/drawing/2014/main" id="{CFAEA140-A3B0-8E33-DC2D-1FF9AD87A972}"/>
                </a:ext>
              </a:extLst>
            </p:cNvPr>
            <p:cNvSpPr/>
            <p:nvPr/>
          </p:nvSpPr>
          <p:spPr>
            <a:xfrm>
              <a:off x="879947" y="1809042"/>
              <a:ext cx="301154" cy="278482"/>
            </a:xfrm>
            <a:custGeom>
              <a:avLst/>
              <a:gdLst>
                <a:gd name="connsiteX0" fmla="*/ 118550 w 266105"/>
                <a:gd name="connsiteY0" fmla="*/ 3748 h 246072"/>
                <a:gd name="connsiteX1" fmla="*/ 158102 w 266105"/>
                <a:gd name="connsiteY1" fmla="*/ 13586 h 246072"/>
                <a:gd name="connsiteX2" fmla="*/ 159206 w 266105"/>
                <a:gd name="connsiteY2" fmla="*/ 15420 h 246072"/>
                <a:gd name="connsiteX3" fmla="*/ 262360 w 266105"/>
                <a:gd name="connsiteY3" fmla="*/ 201668 h 246072"/>
                <a:gd name="connsiteX4" fmla="*/ 250669 w 266105"/>
                <a:gd name="connsiteY4" fmla="*/ 242323 h 246072"/>
                <a:gd name="connsiteX5" fmla="*/ 238243 w 266105"/>
                <a:gd name="connsiteY5" fmla="*/ 245993 h 246072"/>
                <a:gd name="connsiteX6" fmla="*/ 236196 w 266105"/>
                <a:gd name="connsiteY6" fmla="*/ 246072 h 246072"/>
                <a:gd name="connsiteX7" fmla="*/ 29913 w 266105"/>
                <a:gd name="connsiteY7" fmla="*/ 246072 h 246072"/>
                <a:gd name="connsiteX8" fmla="*/ 0 w 266105"/>
                <a:gd name="connsiteY8" fmla="*/ 216159 h 246072"/>
                <a:gd name="connsiteX9" fmla="*/ 2779 w 266105"/>
                <a:gd name="connsiteY9" fmla="*/ 203569 h 246072"/>
                <a:gd name="connsiteX10" fmla="*/ 3736 w 266105"/>
                <a:gd name="connsiteY10" fmla="*/ 201668 h 246072"/>
                <a:gd name="connsiteX11" fmla="*/ 106864 w 266105"/>
                <a:gd name="connsiteY11" fmla="*/ 15420 h 246072"/>
                <a:gd name="connsiteX12" fmla="*/ 118537 w 266105"/>
                <a:gd name="connsiteY12" fmla="*/ 3748 h 246072"/>
                <a:gd name="connsiteX13" fmla="*/ 244917 w 266105"/>
                <a:gd name="connsiteY13" fmla="*/ 211320 h 246072"/>
                <a:gd name="connsiteX14" fmla="*/ 141750 w 266105"/>
                <a:gd name="connsiteY14" fmla="*/ 25086 h 246072"/>
                <a:gd name="connsiteX15" fmla="*/ 128191 w 266105"/>
                <a:gd name="connsiteY15" fmla="*/ 21211 h 246072"/>
                <a:gd name="connsiteX16" fmla="*/ 125078 w 266105"/>
                <a:gd name="connsiteY16" fmla="*/ 23916 h 246072"/>
                <a:gd name="connsiteX17" fmla="*/ 124320 w 266105"/>
                <a:gd name="connsiteY17" fmla="*/ 25086 h 246072"/>
                <a:gd name="connsiteX18" fmla="*/ 21192 w 266105"/>
                <a:gd name="connsiteY18" fmla="*/ 211320 h 246072"/>
                <a:gd name="connsiteX19" fmla="*/ 25070 w 266105"/>
                <a:gd name="connsiteY19" fmla="*/ 224878 h 246072"/>
                <a:gd name="connsiteX20" fmla="*/ 28650 w 266105"/>
                <a:gd name="connsiteY20" fmla="*/ 226050 h 246072"/>
                <a:gd name="connsiteX21" fmla="*/ 29913 w 266105"/>
                <a:gd name="connsiteY21" fmla="*/ 226130 h 246072"/>
                <a:gd name="connsiteX22" fmla="*/ 236196 w 266105"/>
                <a:gd name="connsiteY22" fmla="*/ 226130 h 246072"/>
                <a:gd name="connsiteX23" fmla="*/ 246159 w 266105"/>
                <a:gd name="connsiteY23" fmla="*/ 216151 h 246072"/>
                <a:gd name="connsiteX24" fmla="*/ 245449 w 266105"/>
                <a:gd name="connsiteY24" fmla="*/ 212463 h 246072"/>
                <a:gd name="connsiteX25" fmla="*/ 244917 w 266105"/>
                <a:gd name="connsiteY25" fmla="*/ 211320 h 246072"/>
                <a:gd name="connsiteX26" fmla="*/ 141750 w 266105"/>
                <a:gd name="connsiteY26" fmla="*/ 25086 h 246072"/>
                <a:gd name="connsiteX27" fmla="*/ 244917 w 266105"/>
                <a:gd name="connsiteY27" fmla="*/ 211320 h 246072"/>
                <a:gd name="connsiteX28" fmla="*/ 133041 w 266105"/>
                <a:gd name="connsiteY28" fmla="*/ 179505 h 246072"/>
                <a:gd name="connsiteX29" fmla="*/ 146736 w 266105"/>
                <a:gd name="connsiteY29" fmla="*/ 192360 h 246072"/>
                <a:gd name="connsiteX30" fmla="*/ 133882 w 266105"/>
                <a:gd name="connsiteY30" fmla="*/ 206055 h 246072"/>
                <a:gd name="connsiteX31" fmla="*/ 133041 w 266105"/>
                <a:gd name="connsiteY31" fmla="*/ 206055 h 246072"/>
                <a:gd name="connsiteX32" fmla="*/ 120187 w 266105"/>
                <a:gd name="connsiteY32" fmla="*/ 192360 h 246072"/>
                <a:gd name="connsiteX33" fmla="*/ 133041 w 266105"/>
                <a:gd name="connsiteY33" fmla="*/ 179505 h 246072"/>
                <a:gd name="connsiteX34" fmla="*/ 132975 w 266105"/>
                <a:gd name="connsiteY34" fmla="*/ 79767 h 246072"/>
                <a:gd name="connsiteX35" fmla="*/ 142866 w 266105"/>
                <a:gd name="connsiteY35" fmla="*/ 88369 h 246072"/>
                <a:gd name="connsiteX36" fmla="*/ 142959 w 266105"/>
                <a:gd name="connsiteY36" fmla="*/ 89725 h 246072"/>
                <a:gd name="connsiteX37" fmla="*/ 143013 w 266105"/>
                <a:gd name="connsiteY37" fmla="*/ 149579 h 246072"/>
                <a:gd name="connsiteX38" fmla="*/ 133158 w 266105"/>
                <a:gd name="connsiteY38" fmla="*/ 159665 h 246072"/>
                <a:gd name="connsiteX39" fmla="*/ 123150 w 266105"/>
                <a:gd name="connsiteY39" fmla="*/ 150948 h 246072"/>
                <a:gd name="connsiteX40" fmla="*/ 123070 w 266105"/>
                <a:gd name="connsiteY40" fmla="*/ 149592 h 246072"/>
                <a:gd name="connsiteX41" fmla="*/ 123017 w 266105"/>
                <a:gd name="connsiteY41" fmla="*/ 89738 h 246072"/>
                <a:gd name="connsiteX42" fmla="*/ 132988 w 266105"/>
                <a:gd name="connsiteY42" fmla="*/ 79767 h 2460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266105" h="246072">
                  <a:moveTo>
                    <a:pt x="118550" y="3748"/>
                  </a:moveTo>
                  <a:cubicBezTo>
                    <a:pt x="132274" y="-3852"/>
                    <a:pt x="149538" y="442"/>
                    <a:pt x="158102" y="13586"/>
                  </a:cubicBezTo>
                  <a:lnTo>
                    <a:pt x="159206" y="15420"/>
                  </a:lnTo>
                  <a:lnTo>
                    <a:pt x="262360" y="201668"/>
                  </a:lnTo>
                  <a:cubicBezTo>
                    <a:pt x="270358" y="216123"/>
                    <a:pt x="265124" y="234325"/>
                    <a:pt x="250669" y="242323"/>
                  </a:cubicBezTo>
                  <a:cubicBezTo>
                    <a:pt x="246845" y="244440"/>
                    <a:pt x="242604" y="245692"/>
                    <a:pt x="238243" y="245993"/>
                  </a:cubicBezTo>
                  <a:lnTo>
                    <a:pt x="236196" y="246072"/>
                  </a:lnTo>
                  <a:lnTo>
                    <a:pt x="29913" y="246072"/>
                  </a:lnTo>
                  <a:cubicBezTo>
                    <a:pt x="13393" y="246072"/>
                    <a:pt x="0" y="232679"/>
                    <a:pt x="0" y="216159"/>
                  </a:cubicBezTo>
                  <a:cubicBezTo>
                    <a:pt x="0" y="211810"/>
                    <a:pt x="948" y="207513"/>
                    <a:pt x="2779" y="203569"/>
                  </a:cubicBezTo>
                  <a:lnTo>
                    <a:pt x="3736" y="201668"/>
                  </a:lnTo>
                  <a:lnTo>
                    <a:pt x="106864" y="15420"/>
                  </a:lnTo>
                  <a:cubicBezTo>
                    <a:pt x="109583" y="10512"/>
                    <a:pt x="113628" y="6467"/>
                    <a:pt x="118537" y="3748"/>
                  </a:cubicBezTo>
                  <a:close/>
                  <a:moveTo>
                    <a:pt x="244917" y="211320"/>
                  </a:moveTo>
                  <a:lnTo>
                    <a:pt x="141750" y="25086"/>
                  </a:lnTo>
                  <a:cubicBezTo>
                    <a:pt x="139076" y="20272"/>
                    <a:pt x="133006" y="18537"/>
                    <a:pt x="128191" y="21211"/>
                  </a:cubicBezTo>
                  <a:cubicBezTo>
                    <a:pt x="126976" y="21886"/>
                    <a:pt x="125915" y="22807"/>
                    <a:pt x="125078" y="23916"/>
                  </a:cubicBezTo>
                  <a:lnTo>
                    <a:pt x="124320" y="25086"/>
                  </a:lnTo>
                  <a:lnTo>
                    <a:pt x="21192" y="211320"/>
                  </a:lnTo>
                  <a:cubicBezTo>
                    <a:pt x="18519" y="216135"/>
                    <a:pt x="20256" y="222204"/>
                    <a:pt x="25070" y="224878"/>
                  </a:cubicBezTo>
                  <a:cubicBezTo>
                    <a:pt x="26178" y="225492"/>
                    <a:pt x="27393" y="225891"/>
                    <a:pt x="28650" y="226050"/>
                  </a:cubicBezTo>
                  <a:lnTo>
                    <a:pt x="29913" y="226130"/>
                  </a:lnTo>
                  <a:lnTo>
                    <a:pt x="236196" y="226130"/>
                  </a:lnTo>
                  <a:cubicBezTo>
                    <a:pt x="241703" y="226126"/>
                    <a:pt x="246163" y="221658"/>
                    <a:pt x="246159" y="216151"/>
                  </a:cubicBezTo>
                  <a:cubicBezTo>
                    <a:pt x="246159" y="214888"/>
                    <a:pt x="245917" y="213637"/>
                    <a:pt x="245449" y="212463"/>
                  </a:cubicBezTo>
                  <a:lnTo>
                    <a:pt x="244917" y="211320"/>
                  </a:lnTo>
                  <a:lnTo>
                    <a:pt x="141750" y="25086"/>
                  </a:lnTo>
                  <a:lnTo>
                    <a:pt x="244917" y="211320"/>
                  </a:lnTo>
                  <a:close/>
                  <a:moveTo>
                    <a:pt x="133041" y="179505"/>
                  </a:moveTo>
                  <a:cubicBezTo>
                    <a:pt x="140374" y="179273"/>
                    <a:pt x="146504" y="185028"/>
                    <a:pt x="146736" y="192360"/>
                  </a:cubicBezTo>
                  <a:cubicBezTo>
                    <a:pt x="146969" y="199692"/>
                    <a:pt x="141214" y="205822"/>
                    <a:pt x="133882" y="206055"/>
                  </a:cubicBezTo>
                  <a:cubicBezTo>
                    <a:pt x="133601" y="206064"/>
                    <a:pt x="133322" y="206064"/>
                    <a:pt x="133041" y="206055"/>
                  </a:cubicBezTo>
                  <a:cubicBezTo>
                    <a:pt x="125709" y="205822"/>
                    <a:pt x="119954" y="199692"/>
                    <a:pt x="120187" y="192360"/>
                  </a:cubicBezTo>
                  <a:cubicBezTo>
                    <a:pt x="120409" y="185355"/>
                    <a:pt x="126036" y="179727"/>
                    <a:pt x="133041" y="179505"/>
                  </a:cubicBezTo>
                  <a:close/>
                  <a:moveTo>
                    <a:pt x="132975" y="79767"/>
                  </a:moveTo>
                  <a:cubicBezTo>
                    <a:pt x="137958" y="79760"/>
                    <a:pt x="142182" y="83433"/>
                    <a:pt x="142866" y="88369"/>
                  </a:cubicBezTo>
                  <a:lnTo>
                    <a:pt x="142959" y="89725"/>
                  </a:lnTo>
                  <a:lnTo>
                    <a:pt x="143013" y="149579"/>
                  </a:lnTo>
                  <a:cubicBezTo>
                    <a:pt x="143076" y="155085"/>
                    <a:pt x="138665" y="159602"/>
                    <a:pt x="133158" y="159665"/>
                  </a:cubicBezTo>
                  <a:cubicBezTo>
                    <a:pt x="128092" y="159724"/>
                    <a:pt x="123787" y="155975"/>
                    <a:pt x="123150" y="150948"/>
                  </a:cubicBezTo>
                  <a:lnTo>
                    <a:pt x="123070" y="149592"/>
                  </a:lnTo>
                  <a:lnTo>
                    <a:pt x="123017" y="89738"/>
                  </a:lnTo>
                  <a:cubicBezTo>
                    <a:pt x="123017" y="84232"/>
                    <a:pt x="127482" y="79767"/>
                    <a:pt x="132988" y="79767"/>
                  </a:cubicBezTo>
                  <a:close/>
                </a:path>
              </a:pathLst>
            </a:custGeom>
            <a:gradFill flip="none" rotWithShape="1">
              <a:gsLst>
                <a:gs pos="0">
                  <a:srgbClr val="0078D4"/>
                </a:gs>
                <a:gs pos="100000">
                  <a:srgbClr val="C53FCC"/>
                </a:gs>
              </a:gsLst>
              <a:lin ang="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lIns="704088" tIns="45720" rIns="91440" bIns="45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white"/>
                </a:solidFill>
                <a:effectLst/>
                <a:uLnTx/>
                <a:uFillTx/>
                <a:latin typeface="Segoe UI Semibold"/>
                <a:ea typeface="+mn-ea"/>
                <a:cs typeface="+mn-cs"/>
              </a:endParaRPr>
            </a:p>
          </p:txBody>
        </p:sp>
      </p:grpSp>
      <p:grpSp>
        <p:nvGrpSpPr>
          <p:cNvPr id="44" name="Group 43">
            <a:extLst>
              <a:ext uri="{FF2B5EF4-FFF2-40B4-BE49-F238E27FC236}">
                <a16:creationId xmlns:a16="http://schemas.microsoft.com/office/drawing/2014/main" id="{6B3806B6-7DCA-B366-5237-67FEFD23804A}"/>
              </a:ext>
              <a:ext uri="{C183D7F6-B498-43B3-948B-1728B52AA6E4}">
                <adec:decorative xmlns:adec="http://schemas.microsoft.com/office/drawing/2017/decorative" val="1"/>
              </a:ext>
            </a:extLst>
          </p:cNvPr>
          <p:cNvGrpSpPr/>
          <p:nvPr/>
        </p:nvGrpSpPr>
        <p:grpSpPr>
          <a:xfrm>
            <a:off x="756015" y="4019292"/>
            <a:ext cx="549017" cy="549017"/>
            <a:chOff x="756015" y="4019292"/>
            <a:chExt cx="549017" cy="549017"/>
          </a:xfrm>
        </p:grpSpPr>
        <p:sp>
          <p:nvSpPr>
            <p:cNvPr id="11" name="Oval 10">
              <a:extLst>
                <a:ext uri="{FF2B5EF4-FFF2-40B4-BE49-F238E27FC236}">
                  <a16:creationId xmlns:a16="http://schemas.microsoft.com/office/drawing/2014/main" id="{AAA11E22-3354-3E46-D362-85D722081E4A}"/>
                </a:ext>
              </a:extLst>
            </p:cNvPr>
            <p:cNvSpPr>
              <a:spLocks/>
            </p:cNvSpPr>
            <p:nvPr/>
          </p:nvSpPr>
          <p:spPr bwMode="auto">
            <a:xfrm>
              <a:off x="756015" y="4019292"/>
              <a:ext cx="549017" cy="549017"/>
            </a:xfrm>
            <a:prstGeom prst="ellipse">
              <a:avLst/>
            </a:prstGeom>
            <a:solidFill>
              <a:schemeClr val="bg1"/>
            </a:solidFill>
            <a:ln w="19050">
              <a:gradFill>
                <a:gsLst>
                  <a:gs pos="100000">
                    <a:srgbClr val="C03BC4"/>
                  </a:gs>
                  <a:gs pos="0">
                    <a:srgbClr val="0078D4"/>
                  </a:gs>
                </a:gsLst>
                <a:lin ang="0" scaled="0"/>
              </a:gradFill>
            </a:ln>
            <a:effectLst>
              <a:outerShdw blurRad="177800" dist="25400" algn="tl" rotWithShape="0">
                <a:prstClr val="black">
                  <a:alpha val="5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41" name="Graphic 8" descr="Icon of an AI robot">
              <a:extLst>
                <a:ext uri="{FF2B5EF4-FFF2-40B4-BE49-F238E27FC236}">
                  <a16:creationId xmlns:a16="http://schemas.microsoft.com/office/drawing/2014/main" id="{B938DEEB-DF23-F9DF-D015-AFED792C113F}"/>
                </a:ext>
              </a:extLst>
            </p:cNvPr>
            <p:cNvSpPr>
              <a:spLocks noChangeAspect="1"/>
            </p:cNvSpPr>
            <p:nvPr/>
          </p:nvSpPr>
          <p:spPr>
            <a:xfrm>
              <a:off x="889058" y="4116957"/>
              <a:ext cx="282931" cy="353686"/>
            </a:xfrm>
            <a:custGeom>
              <a:avLst/>
              <a:gdLst>
                <a:gd name="connsiteX0" fmla="*/ 310304 w 361083"/>
                <a:gd name="connsiteY0" fmla="*/ 270807 h 451381"/>
                <a:gd name="connsiteX1" fmla="*/ 361083 w 361083"/>
                <a:gd name="connsiteY1" fmla="*/ 321586 h 451381"/>
                <a:gd name="connsiteX2" fmla="*/ 361083 w 361083"/>
                <a:gd name="connsiteY2" fmla="*/ 342013 h 451381"/>
                <a:gd name="connsiteX3" fmla="*/ 331579 w 361083"/>
                <a:gd name="connsiteY3" fmla="*/ 406227 h 451381"/>
                <a:gd name="connsiteX4" fmla="*/ 180468 w 361083"/>
                <a:gd name="connsiteY4" fmla="*/ 451382 h 451381"/>
                <a:gd name="connsiteX5" fmla="*/ 29458 w 361083"/>
                <a:gd name="connsiteY5" fmla="*/ 406238 h 451381"/>
                <a:gd name="connsiteX6" fmla="*/ 0 w 361083"/>
                <a:gd name="connsiteY6" fmla="*/ 342063 h 451381"/>
                <a:gd name="connsiteX7" fmla="*/ 0 w 361083"/>
                <a:gd name="connsiteY7" fmla="*/ 321586 h 451381"/>
                <a:gd name="connsiteX8" fmla="*/ 50779 w 361083"/>
                <a:gd name="connsiteY8" fmla="*/ 270807 h 451381"/>
                <a:gd name="connsiteX9" fmla="*/ 310304 w 361083"/>
                <a:gd name="connsiteY9" fmla="*/ 270807 h 451381"/>
                <a:gd name="connsiteX10" fmla="*/ 310304 w 361083"/>
                <a:gd name="connsiteY10" fmla="*/ 304660 h 451381"/>
                <a:gd name="connsiteX11" fmla="*/ 50779 w 361083"/>
                <a:gd name="connsiteY11" fmla="*/ 304660 h 451381"/>
                <a:gd name="connsiteX12" fmla="*/ 33853 w 361083"/>
                <a:gd name="connsiteY12" fmla="*/ 321586 h 451381"/>
                <a:gd name="connsiteX13" fmla="*/ 33853 w 361083"/>
                <a:gd name="connsiteY13" fmla="*/ 342063 h 451381"/>
                <a:gd name="connsiteX14" fmla="*/ 51527 w 361083"/>
                <a:gd name="connsiteY14" fmla="*/ 380569 h 451381"/>
                <a:gd name="connsiteX15" fmla="*/ 180468 w 361083"/>
                <a:gd name="connsiteY15" fmla="*/ 417529 h 451381"/>
                <a:gd name="connsiteX16" fmla="*/ 309530 w 361083"/>
                <a:gd name="connsiteY16" fmla="*/ 380542 h 451381"/>
                <a:gd name="connsiteX17" fmla="*/ 327231 w 361083"/>
                <a:gd name="connsiteY17" fmla="*/ 342013 h 451381"/>
                <a:gd name="connsiteX18" fmla="*/ 327231 w 361083"/>
                <a:gd name="connsiteY18" fmla="*/ 321586 h 451381"/>
                <a:gd name="connsiteX19" fmla="*/ 310304 w 361083"/>
                <a:gd name="connsiteY19" fmla="*/ 304660 h 451381"/>
                <a:gd name="connsiteX20" fmla="*/ 178177 w 361083"/>
                <a:gd name="connsiteY20" fmla="*/ 155 h 451381"/>
                <a:gd name="connsiteX21" fmla="*/ 180475 w 361083"/>
                <a:gd name="connsiteY21" fmla="*/ 0 h 451381"/>
                <a:gd name="connsiteX22" fmla="*/ 197245 w 361083"/>
                <a:gd name="connsiteY22" fmla="*/ 14630 h 451381"/>
                <a:gd name="connsiteX23" fmla="*/ 197401 w 361083"/>
                <a:gd name="connsiteY23" fmla="*/ 16926 h 451381"/>
                <a:gd name="connsiteX24" fmla="*/ 197383 w 361083"/>
                <a:gd name="connsiteY24" fmla="*/ 33830 h 451381"/>
                <a:gd name="connsiteX25" fmla="*/ 276384 w 361083"/>
                <a:gd name="connsiteY25" fmla="*/ 33842 h 451381"/>
                <a:gd name="connsiteX26" fmla="*/ 327163 w 361083"/>
                <a:gd name="connsiteY26" fmla="*/ 84621 h 451381"/>
                <a:gd name="connsiteX27" fmla="*/ 327163 w 361083"/>
                <a:gd name="connsiteY27" fmla="*/ 186282 h 451381"/>
                <a:gd name="connsiteX28" fmla="*/ 276384 w 361083"/>
                <a:gd name="connsiteY28" fmla="*/ 237061 h 451381"/>
                <a:gd name="connsiteX29" fmla="*/ 84551 w 361083"/>
                <a:gd name="connsiteY29" fmla="*/ 237061 h 451381"/>
                <a:gd name="connsiteX30" fmla="*/ 33773 w 361083"/>
                <a:gd name="connsiteY30" fmla="*/ 186282 h 451381"/>
                <a:gd name="connsiteX31" fmla="*/ 33773 w 361083"/>
                <a:gd name="connsiteY31" fmla="*/ 84621 h 451381"/>
                <a:gd name="connsiteX32" fmla="*/ 84551 w 361083"/>
                <a:gd name="connsiteY32" fmla="*/ 33842 h 451381"/>
                <a:gd name="connsiteX33" fmla="*/ 163531 w 361083"/>
                <a:gd name="connsiteY33" fmla="*/ 33830 h 451381"/>
                <a:gd name="connsiteX34" fmla="*/ 163549 w 361083"/>
                <a:gd name="connsiteY34" fmla="*/ 16926 h 451381"/>
                <a:gd name="connsiteX35" fmla="*/ 178177 w 361083"/>
                <a:gd name="connsiteY35" fmla="*/ 155 h 451381"/>
                <a:gd name="connsiteX36" fmla="*/ 180475 w 361083"/>
                <a:gd name="connsiteY36" fmla="*/ 0 h 451381"/>
                <a:gd name="connsiteX37" fmla="*/ 178177 w 361083"/>
                <a:gd name="connsiteY37" fmla="*/ 155 h 451381"/>
                <a:gd name="connsiteX38" fmla="*/ 276384 w 361083"/>
                <a:gd name="connsiteY38" fmla="*/ 67694 h 451381"/>
                <a:gd name="connsiteX39" fmla="*/ 84551 w 361083"/>
                <a:gd name="connsiteY39" fmla="*/ 67694 h 451381"/>
                <a:gd name="connsiteX40" fmla="*/ 67625 w 361083"/>
                <a:gd name="connsiteY40" fmla="*/ 84621 h 451381"/>
                <a:gd name="connsiteX41" fmla="*/ 67625 w 361083"/>
                <a:gd name="connsiteY41" fmla="*/ 186282 h 451381"/>
                <a:gd name="connsiteX42" fmla="*/ 84551 w 361083"/>
                <a:gd name="connsiteY42" fmla="*/ 203208 h 451381"/>
                <a:gd name="connsiteX43" fmla="*/ 276384 w 361083"/>
                <a:gd name="connsiteY43" fmla="*/ 203208 h 451381"/>
                <a:gd name="connsiteX44" fmla="*/ 293310 w 361083"/>
                <a:gd name="connsiteY44" fmla="*/ 186282 h 451381"/>
                <a:gd name="connsiteX45" fmla="*/ 293310 w 361083"/>
                <a:gd name="connsiteY45" fmla="*/ 84621 h 451381"/>
                <a:gd name="connsiteX46" fmla="*/ 276384 w 361083"/>
                <a:gd name="connsiteY46" fmla="*/ 67694 h 451381"/>
                <a:gd name="connsiteX47" fmla="*/ 129672 w 361083"/>
                <a:gd name="connsiteY47" fmla="*/ 101547 h 451381"/>
                <a:gd name="connsiteX48" fmla="*/ 157866 w 361083"/>
                <a:gd name="connsiteY48" fmla="*/ 129741 h 451381"/>
                <a:gd name="connsiteX49" fmla="*/ 129672 w 361083"/>
                <a:gd name="connsiteY49" fmla="*/ 157936 h 451381"/>
                <a:gd name="connsiteX50" fmla="*/ 101478 w 361083"/>
                <a:gd name="connsiteY50" fmla="*/ 129741 h 451381"/>
                <a:gd name="connsiteX51" fmla="*/ 129672 w 361083"/>
                <a:gd name="connsiteY51" fmla="*/ 101547 h 451381"/>
                <a:gd name="connsiteX52" fmla="*/ 231067 w 361083"/>
                <a:gd name="connsiteY52" fmla="*/ 101547 h 451381"/>
                <a:gd name="connsiteX53" fmla="*/ 259261 w 361083"/>
                <a:gd name="connsiteY53" fmla="*/ 129741 h 451381"/>
                <a:gd name="connsiteX54" fmla="*/ 231067 w 361083"/>
                <a:gd name="connsiteY54" fmla="*/ 157936 h 451381"/>
                <a:gd name="connsiteX55" fmla="*/ 202872 w 361083"/>
                <a:gd name="connsiteY55" fmla="*/ 129741 h 451381"/>
                <a:gd name="connsiteX56" fmla="*/ 231067 w 361083"/>
                <a:gd name="connsiteY56" fmla="*/ 101547 h 4513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Lst>
              <a:rect l="l" t="t" r="r" b="b"/>
              <a:pathLst>
                <a:path w="361083" h="451381">
                  <a:moveTo>
                    <a:pt x="310304" y="270807"/>
                  </a:moveTo>
                  <a:cubicBezTo>
                    <a:pt x="338350" y="270807"/>
                    <a:pt x="361083" y="293543"/>
                    <a:pt x="361083" y="321586"/>
                  </a:cubicBezTo>
                  <a:lnTo>
                    <a:pt x="361083" y="342013"/>
                  </a:lnTo>
                  <a:cubicBezTo>
                    <a:pt x="361083" y="366696"/>
                    <a:pt x="350309" y="390149"/>
                    <a:pt x="331579" y="406227"/>
                  </a:cubicBezTo>
                  <a:cubicBezTo>
                    <a:pt x="296251" y="436557"/>
                    <a:pt x="245691" y="451382"/>
                    <a:pt x="180468" y="451382"/>
                  </a:cubicBezTo>
                  <a:cubicBezTo>
                    <a:pt x="115256" y="451382"/>
                    <a:pt x="64729" y="436563"/>
                    <a:pt x="29458" y="406238"/>
                  </a:cubicBezTo>
                  <a:cubicBezTo>
                    <a:pt x="10757" y="390161"/>
                    <a:pt x="0" y="366726"/>
                    <a:pt x="0" y="342063"/>
                  </a:cubicBezTo>
                  <a:lnTo>
                    <a:pt x="0" y="321586"/>
                  </a:lnTo>
                  <a:cubicBezTo>
                    <a:pt x="0" y="293543"/>
                    <a:pt x="22735" y="270807"/>
                    <a:pt x="50779" y="270807"/>
                  </a:cubicBezTo>
                  <a:lnTo>
                    <a:pt x="310304" y="270807"/>
                  </a:lnTo>
                  <a:close/>
                  <a:moveTo>
                    <a:pt x="310304" y="304660"/>
                  </a:moveTo>
                  <a:lnTo>
                    <a:pt x="50779" y="304660"/>
                  </a:lnTo>
                  <a:cubicBezTo>
                    <a:pt x="41431" y="304660"/>
                    <a:pt x="33853" y="312239"/>
                    <a:pt x="33853" y="321586"/>
                  </a:cubicBezTo>
                  <a:lnTo>
                    <a:pt x="33853" y="342063"/>
                  </a:lnTo>
                  <a:cubicBezTo>
                    <a:pt x="33853" y="356861"/>
                    <a:pt x="40307" y="370921"/>
                    <a:pt x="51527" y="380569"/>
                  </a:cubicBezTo>
                  <a:cubicBezTo>
                    <a:pt x="79920" y="404979"/>
                    <a:pt x="122710" y="417529"/>
                    <a:pt x="180468" y="417529"/>
                  </a:cubicBezTo>
                  <a:cubicBezTo>
                    <a:pt x="238241" y="417529"/>
                    <a:pt x="281074" y="404972"/>
                    <a:pt x="309530" y="380542"/>
                  </a:cubicBezTo>
                  <a:cubicBezTo>
                    <a:pt x="320765" y="370894"/>
                    <a:pt x="327231" y="356822"/>
                    <a:pt x="327231" y="342013"/>
                  </a:cubicBezTo>
                  <a:lnTo>
                    <a:pt x="327231" y="321586"/>
                  </a:lnTo>
                  <a:cubicBezTo>
                    <a:pt x="327231" y="312239"/>
                    <a:pt x="319652" y="304660"/>
                    <a:pt x="310304" y="304660"/>
                  </a:cubicBezTo>
                  <a:close/>
                  <a:moveTo>
                    <a:pt x="178177" y="155"/>
                  </a:moveTo>
                  <a:lnTo>
                    <a:pt x="180475" y="0"/>
                  </a:lnTo>
                  <a:cubicBezTo>
                    <a:pt x="189044" y="0"/>
                    <a:pt x="196126" y="6368"/>
                    <a:pt x="197245" y="14630"/>
                  </a:cubicBezTo>
                  <a:lnTo>
                    <a:pt x="197401" y="16926"/>
                  </a:lnTo>
                  <a:lnTo>
                    <a:pt x="197383" y="33830"/>
                  </a:lnTo>
                  <a:lnTo>
                    <a:pt x="276384" y="33842"/>
                  </a:lnTo>
                  <a:cubicBezTo>
                    <a:pt x="304427" y="33842"/>
                    <a:pt x="327163" y="56576"/>
                    <a:pt x="327163" y="84621"/>
                  </a:cubicBezTo>
                  <a:lnTo>
                    <a:pt x="327163" y="186282"/>
                  </a:lnTo>
                  <a:cubicBezTo>
                    <a:pt x="327163" y="214325"/>
                    <a:pt x="304427" y="237061"/>
                    <a:pt x="276384" y="237061"/>
                  </a:cubicBezTo>
                  <a:lnTo>
                    <a:pt x="84551" y="237061"/>
                  </a:lnTo>
                  <a:cubicBezTo>
                    <a:pt x="56507" y="237061"/>
                    <a:pt x="33773" y="214325"/>
                    <a:pt x="33773" y="186282"/>
                  </a:cubicBezTo>
                  <a:lnTo>
                    <a:pt x="33773" y="84621"/>
                  </a:lnTo>
                  <a:cubicBezTo>
                    <a:pt x="33773" y="56576"/>
                    <a:pt x="56507" y="33842"/>
                    <a:pt x="84551" y="33842"/>
                  </a:cubicBezTo>
                  <a:lnTo>
                    <a:pt x="163531" y="33830"/>
                  </a:lnTo>
                  <a:lnTo>
                    <a:pt x="163549" y="16926"/>
                  </a:lnTo>
                  <a:cubicBezTo>
                    <a:pt x="163549" y="8357"/>
                    <a:pt x="169915" y="1275"/>
                    <a:pt x="178177" y="155"/>
                  </a:cubicBezTo>
                  <a:lnTo>
                    <a:pt x="180475" y="0"/>
                  </a:lnTo>
                  <a:lnTo>
                    <a:pt x="178177" y="155"/>
                  </a:lnTo>
                  <a:close/>
                  <a:moveTo>
                    <a:pt x="276384" y="67694"/>
                  </a:moveTo>
                  <a:lnTo>
                    <a:pt x="84551" y="67694"/>
                  </a:lnTo>
                  <a:cubicBezTo>
                    <a:pt x="75203" y="67694"/>
                    <a:pt x="67625" y="75272"/>
                    <a:pt x="67625" y="84621"/>
                  </a:cubicBezTo>
                  <a:lnTo>
                    <a:pt x="67625" y="186282"/>
                  </a:lnTo>
                  <a:cubicBezTo>
                    <a:pt x="67625" y="195630"/>
                    <a:pt x="75203" y="203208"/>
                    <a:pt x="84551" y="203208"/>
                  </a:cubicBezTo>
                  <a:lnTo>
                    <a:pt x="276384" y="203208"/>
                  </a:lnTo>
                  <a:cubicBezTo>
                    <a:pt x="285732" y="203208"/>
                    <a:pt x="293310" y="195630"/>
                    <a:pt x="293310" y="186282"/>
                  </a:cubicBezTo>
                  <a:lnTo>
                    <a:pt x="293310" y="84621"/>
                  </a:lnTo>
                  <a:cubicBezTo>
                    <a:pt x="293310" y="75272"/>
                    <a:pt x="285732" y="67694"/>
                    <a:pt x="276384" y="67694"/>
                  </a:cubicBezTo>
                  <a:close/>
                  <a:moveTo>
                    <a:pt x="129672" y="101547"/>
                  </a:moveTo>
                  <a:cubicBezTo>
                    <a:pt x="145243" y="101547"/>
                    <a:pt x="157866" y="114170"/>
                    <a:pt x="157866" y="129741"/>
                  </a:cubicBezTo>
                  <a:cubicBezTo>
                    <a:pt x="157866" y="145313"/>
                    <a:pt x="145243" y="157936"/>
                    <a:pt x="129672" y="157936"/>
                  </a:cubicBezTo>
                  <a:cubicBezTo>
                    <a:pt x="114101" y="157936"/>
                    <a:pt x="101478" y="145313"/>
                    <a:pt x="101478" y="129741"/>
                  </a:cubicBezTo>
                  <a:cubicBezTo>
                    <a:pt x="101478" y="114170"/>
                    <a:pt x="114101" y="101547"/>
                    <a:pt x="129672" y="101547"/>
                  </a:cubicBezTo>
                  <a:close/>
                  <a:moveTo>
                    <a:pt x="231067" y="101547"/>
                  </a:moveTo>
                  <a:cubicBezTo>
                    <a:pt x="246639" y="101547"/>
                    <a:pt x="259261" y="114170"/>
                    <a:pt x="259261" y="129741"/>
                  </a:cubicBezTo>
                  <a:cubicBezTo>
                    <a:pt x="259261" y="145313"/>
                    <a:pt x="246639" y="157936"/>
                    <a:pt x="231067" y="157936"/>
                  </a:cubicBezTo>
                  <a:cubicBezTo>
                    <a:pt x="215494" y="157936"/>
                    <a:pt x="202872" y="145313"/>
                    <a:pt x="202872" y="129741"/>
                  </a:cubicBezTo>
                  <a:cubicBezTo>
                    <a:pt x="202872" y="114170"/>
                    <a:pt x="215494" y="101547"/>
                    <a:pt x="231067" y="101547"/>
                  </a:cubicBezTo>
                  <a:close/>
                </a:path>
              </a:pathLst>
            </a:custGeom>
            <a:gradFill flip="none" rotWithShape="1">
              <a:gsLst>
                <a:gs pos="0">
                  <a:srgbClr val="0078D4"/>
                </a:gs>
                <a:gs pos="100000">
                  <a:srgbClr val="C53FCC"/>
                </a:gs>
              </a:gsLst>
              <a:lin ang="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lIns="704088" tIns="45720" rIns="91440" bIns="45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white"/>
                </a:solidFill>
                <a:effectLst/>
                <a:uLnTx/>
                <a:uFillTx/>
                <a:latin typeface="Segoe UI Semibold"/>
                <a:ea typeface="+mn-ea"/>
                <a:cs typeface="+mn-cs"/>
              </a:endParaRPr>
            </a:p>
          </p:txBody>
        </p:sp>
      </p:grpSp>
      <p:grpSp>
        <p:nvGrpSpPr>
          <p:cNvPr id="45" name="Group 44">
            <a:extLst>
              <a:ext uri="{FF2B5EF4-FFF2-40B4-BE49-F238E27FC236}">
                <a16:creationId xmlns:a16="http://schemas.microsoft.com/office/drawing/2014/main" id="{3A1E7A51-041F-3714-505D-B5BEC88FFFC4}"/>
              </a:ext>
              <a:ext uri="{C183D7F6-B498-43B3-948B-1728B52AA6E4}">
                <adec:decorative xmlns:adec="http://schemas.microsoft.com/office/drawing/2017/decorative" val="1"/>
              </a:ext>
            </a:extLst>
          </p:cNvPr>
          <p:cNvGrpSpPr/>
          <p:nvPr/>
        </p:nvGrpSpPr>
        <p:grpSpPr>
          <a:xfrm>
            <a:off x="756015" y="5344016"/>
            <a:ext cx="549017" cy="549017"/>
            <a:chOff x="756015" y="5344016"/>
            <a:chExt cx="549017" cy="549017"/>
          </a:xfrm>
        </p:grpSpPr>
        <p:sp>
          <p:nvSpPr>
            <p:cNvPr id="15" name="Oval 14">
              <a:extLst>
                <a:ext uri="{FF2B5EF4-FFF2-40B4-BE49-F238E27FC236}">
                  <a16:creationId xmlns:a16="http://schemas.microsoft.com/office/drawing/2014/main" id="{B0DFDEDE-439A-DC68-2C49-1C4FA96225F4}"/>
                </a:ext>
              </a:extLst>
            </p:cNvPr>
            <p:cNvSpPr>
              <a:spLocks/>
            </p:cNvSpPr>
            <p:nvPr/>
          </p:nvSpPr>
          <p:spPr bwMode="auto">
            <a:xfrm>
              <a:off x="756015" y="5344016"/>
              <a:ext cx="549017" cy="549017"/>
            </a:xfrm>
            <a:prstGeom prst="ellipse">
              <a:avLst/>
            </a:prstGeom>
            <a:solidFill>
              <a:schemeClr val="bg1"/>
            </a:solidFill>
            <a:ln w="19050">
              <a:gradFill>
                <a:gsLst>
                  <a:gs pos="100000">
                    <a:srgbClr val="C03BC4"/>
                  </a:gs>
                  <a:gs pos="0">
                    <a:srgbClr val="0078D4"/>
                  </a:gs>
                </a:gsLst>
                <a:lin ang="0" scaled="0"/>
              </a:gradFill>
            </a:ln>
            <a:effectLst>
              <a:outerShdw blurRad="177800" dist="25400" algn="tl" rotWithShape="0">
                <a:prstClr val="black">
                  <a:alpha val="5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42" name="Graphic 2" descr="Icon of a gear">
              <a:extLst>
                <a:ext uri="{FF2B5EF4-FFF2-40B4-BE49-F238E27FC236}">
                  <a16:creationId xmlns:a16="http://schemas.microsoft.com/office/drawing/2014/main" id="{98A07801-954F-1357-0DA4-394A8BD3702C}"/>
                </a:ext>
              </a:extLst>
            </p:cNvPr>
            <p:cNvSpPr/>
            <p:nvPr/>
          </p:nvSpPr>
          <p:spPr>
            <a:xfrm>
              <a:off x="878699" y="5466700"/>
              <a:ext cx="303648" cy="303648"/>
            </a:xfrm>
            <a:custGeom>
              <a:avLst/>
              <a:gdLst>
                <a:gd name="connsiteX0" fmla="*/ 89274 w 178348"/>
                <a:gd name="connsiteY0" fmla="*/ 0 h 185732"/>
                <a:gd name="connsiteX1" fmla="*/ 110058 w 178348"/>
                <a:gd name="connsiteY1" fmla="*/ 2410 h 185732"/>
                <a:gd name="connsiteX2" fmla="*/ 115601 w 178348"/>
                <a:gd name="connsiteY2" fmla="*/ 8592 h 185732"/>
                <a:gd name="connsiteX3" fmla="*/ 117220 w 178348"/>
                <a:gd name="connsiteY3" fmla="*/ 23136 h 185732"/>
                <a:gd name="connsiteX4" fmla="*/ 131782 w 178348"/>
                <a:gd name="connsiteY4" fmla="*/ 34777 h 185732"/>
                <a:gd name="connsiteX5" fmla="*/ 135575 w 178348"/>
                <a:gd name="connsiteY5" fmla="*/ 33766 h 185732"/>
                <a:gd name="connsiteX6" fmla="*/ 148920 w 178348"/>
                <a:gd name="connsiteY6" fmla="*/ 27908 h 185732"/>
                <a:gd name="connsiteX7" fmla="*/ 157016 w 178348"/>
                <a:gd name="connsiteY7" fmla="*/ 29566 h 185732"/>
                <a:gd name="connsiteX8" fmla="*/ 178009 w 178348"/>
                <a:gd name="connsiteY8" fmla="*/ 65684 h 185732"/>
                <a:gd name="connsiteX9" fmla="*/ 175428 w 178348"/>
                <a:gd name="connsiteY9" fmla="*/ 73543 h 185732"/>
                <a:gd name="connsiteX10" fmla="*/ 163598 w 178348"/>
                <a:gd name="connsiteY10" fmla="*/ 82267 h 185732"/>
                <a:gd name="connsiteX11" fmla="*/ 160784 w 178348"/>
                <a:gd name="connsiteY11" fmla="*/ 100656 h 185732"/>
                <a:gd name="connsiteX12" fmla="*/ 163598 w 178348"/>
                <a:gd name="connsiteY12" fmla="*/ 103470 h 185732"/>
                <a:gd name="connsiteX13" fmla="*/ 175437 w 178348"/>
                <a:gd name="connsiteY13" fmla="*/ 112185 h 185732"/>
                <a:gd name="connsiteX14" fmla="*/ 178028 w 178348"/>
                <a:gd name="connsiteY14" fmla="*/ 120053 h 185732"/>
                <a:gd name="connsiteX15" fmla="*/ 157035 w 178348"/>
                <a:gd name="connsiteY15" fmla="*/ 156172 h 185732"/>
                <a:gd name="connsiteX16" fmla="*/ 148958 w 178348"/>
                <a:gd name="connsiteY16" fmla="*/ 157839 h 185732"/>
                <a:gd name="connsiteX17" fmla="*/ 135556 w 178348"/>
                <a:gd name="connsiteY17" fmla="*/ 151962 h 185732"/>
                <a:gd name="connsiteX18" fmla="*/ 118240 w 178348"/>
                <a:gd name="connsiteY18" fmla="*/ 158722 h 185732"/>
                <a:gd name="connsiteX19" fmla="*/ 117211 w 178348"/>
                <a:gd name="connsiteY19" fmla="*/ 162573 h 185732"/>
                <a:gd name="connsiteX20" fmla="*/ 115601 w 178348"/>
                <a:gd name="connsiteY20" fmla="*/ 177108 h 185732"/>
                <a:gd name="connsiteX21" fmla="*/ 110153 w 178348"/>
                <a:gd name="connsiteY21" fmla="*/ 183271 h 185732"/>
                <a:gd name="connsiteX22" fmla="*/ 68186 w 178348"/>
                <a:gd name="connsiteY22" fmla="*/ 183271 h 185732"/>
                <a:gd name="connsiteX23" fmla="*/ 62737 w 178348"/>
                <a:gd name="connsiteY23" fmla="*/ 177108 h 185732"/>
                <a:gd name="connsiteX24" fmla="*/ 61137 w 178348"/>
                <a:gd name="connsiteY24" fmla="*/ 162592 h 185732"/>
                <a:gd name="connsiteX25" fmla="*/ 46567 w 178348"/>
                <a:gd name="connsiteY25" fmla="*/ 151005 h 185732"/>
                <a:gd name="connsiteX26" fmla="*/ 42792 w 178348"/>
                <a:gd name="connsiteY26" fmla="*/ 152019 h 185732"/>
                <a:gd name="connsiteX27" fmla="*/ 29400 w 178348"/>
                <a:gd name="connsiteY27" fmla="*/ 157886 h 185732"/>
                <a:gd name="connsiteX28" fmla="*/ 21313 w 178348"/>
                <a:gd name="connsiteY28" fmla="*/ 156220 h 185732"/>
                <a:gd name="connsiteX29" fmla="*/ 320 w 178348"/>
                <a:gd name="connsiteY29" fmla="*/ 120063 h 185732"/>
                <a:gd name="connsiteX30" fmla="*/ 2911 w 178348"/>
                <a:gd name="connsiteY30" fmla="*/ 112195 h 185732"/>
                <a:gd name="connsiteX31" fmla="*/ 14751 w 178348"/>
                <a:gd name="connsiteY31" fmla="*/ 103470 h 185732"/>
                <a:gd name="connsiteX32" fmla="*/ 17581 w 178348"/>
                <a:gd name="connsiteY32" fmla="*/ 85097 h 185732"/>
                <a:gd name="connsiteX33" fmla="*/ 14751 w 178348"/>
                <a:gd name="connsiteY33" fmla="*/ 82267 h 185732"/>
                <a:gd name="connsiteX34" fmla="*/ 2911 w 178348"/>
                <a:gd name="connsiteY34" fmla="*/ 73562 h 185732"/>
                <a:gd name="connsiteX35" fmla="*/ 330 w 178348"/>
                <a:gd name="connsiteY35" fmla="*/ 65694 h 185732"/>
                <a:gd name="connsiteX36" fmla="*/ 21323 w 178348"/>
                <a:gd name="connsiteY36" fmla="*/ 29575 h 185732"/>
                <a:gd name="connsiteX37" fmla="*/ 29419 w 178348"/>
                <a:gd name="connsiteY37" fmla="*/ 27918 h 185732"/>
                <a:gd name="connsiteX38" fmla="*/ 42754 w 178348"/>
                <a:gd name="connsiteY38" fmla="*/ 33776 h 185732"/>
                <a:gd name="connsiteX39" fmla="*/ 60130 w 178348"/>
                <a:gd name="connsiteY39" fmla="*/ 26909 h 185732"/>
                <a:gd name="connsiteX40" fmla="*/ 61137 w 178348"/>
                <a:gd name="connsiteY40" fmla="*/ 23127 h 185732"/>
                <a:gd name="connsiteX41" fmla="*/ 62757 w 178348"/>
                <a:gd name="connsiteY41" fmla="*/ 8592 h 185732"/>
                <a:gd name="connsiteX42" fmla="*/ 68310 w 178348"/>
                <a:gd name="connsiteY42" fmla="*/ 2400 h 185732"/>
                <a:gd name="connsiteX43" fmla="*/ 89274 w 178348"/>
                <a:gd name="connsiteY43" fmla="*/ 0 h 185732"/>
                <a:gd name="connsiteX44" fmla="*/ 89274 w 178348"/>
                <a:gd name="connsiteY44" fmla="*/ 14288 h 185732"/>
                <a:gd name="connsiteX45" fmla="*/ 76377 w 178348"/>
                <a:gd name="connsiteY45" fmla="*/ 15402 h 185732"/>
                <a:gd name="connsiteX46" fmla="*/ 75339 w 178348"/>
                <a:gd name="connsiteY46" fmla="*/ 24708 h 185732"/>
                <a:gd name="connsiteX47" fmla="*/ 44984 w 178348"/>
                <a:gd name="connsiteY47" fmla="*/ 48995 h 185732"/>
                <a:gd name="connsiteX48" fmla="*/ 37010 w 178348"/>
                <a:gd name="connsiteY48" fmla="*/ 46863 h 185732"/>
                <a:gd name="connsiteX49" fmla="*/ 28457 w 178348"/>
                <a:gd name="connsiteY49" fmla="*/ 43110 h 185732"/>
                <a:gd name="connsiteX50" fmla="*/ 15617 w 178348"/>
                <a:gd name="connsiteY50" fmla="*/ 65180 h 185732"/>
                <a:gd name="connsiteX51" fmla="*/ 23218 w 178348"/>
                <a:gd name="connsiteY51" fmla="*/ 70771 h 185732"/>
                <a:gd name="connsiteX52" fmla="*/ 29080 w 178348"/>
                <a:gd name="connsiteY52" fmla="*/ 109134 h 185732"/>
                <a:gd name="connsiteX53" fmla="*/ 23218 w 178348"/>
                <a:gd name="connsiteY53" fmla="*/ 114995 h 185732"/>
                <a:gd name="connsiteX54" fmla="*/ 15608 w 178348"/>
                <a:gd name="connsiteY54" fmla="*/ 120596 h 185732"/>
                <a:gd name="connsiteX55" fmla="*/ 28447 w 178348"/>
                <a:gd name="connsiteY55" fmla="*/ 142713 h 185732"/>
                <a:gd name="connsiteX56" fmla="*/ 37068 w 178348"/>
                <a:gd name="connsiteY56" fmla="*/ 138932 h 185732"/>
                <a:gd name="connsiteX57" fmla="*/ 73209 w 178348"/>
                <a:gd name="connsiteY57" fmla="*/ 153105 h 185732"/>
                <a:gd name="connsiteX58" fmla="*/ 75330 w 178348"/>
                <a:gd name="connsiteY58" fmla="*/ 161011 h 185732"/>
                <a:gd name="connsiteX59" fmla="*/ 76377 w 178348"/>
                <a:gd name="connsiteY59" fmla="*/ 170383 h 185732"/>
                <a:gd name="connsiteX60" fmla="*/ 101971 w 178348"/>
                <a:gd name="connsiteY60" fmla="*/ 170383 h 185732"/>
                <a:gd name="connsiteX61" fmla="*/ 103019 w 178348"/>
                <a:gd name="connsiteY61" fmla="*/ 161011 h 185732"/>
                <a:gd name="connsiteX62" fmla="*/ 133318 w 178348"/>
                <a:gd name="connsiteY62" fmla="*/ 136761 h 185732"/>
                <a:gd name="connsiteX63" fmla="*/ 141290 w 178348"/>
                <a:gd name="connsiteY63" fmla="*/ 138894 h 185732"/>
                <a:gd name="connsiteX64" fmla="*/ 149910 w 178348"/>
                <a:gd name="connsiteY64" fmla="*/ 142665 h 185732"/>
                <a:gd name="connsiteX65" fmla="*/ 162740 w 178348"/>
                <a:gd name="connsiteY65" fmla="*/ 120587 h 185732"/>
                <a:gd name="connsiteX66" fmla="*/ 155140 w 178348"/>
                <a:gd name="connsiteY66" fmla="*/ 114986 h 185732"/>
                <a:gd name="connsiteX67" fmla="*/ 149278 w 178348"/>
                <a:gd name="connsiteY67" fmla="*/ 76623 h 185732"/>
                <a:gd name="connsiteX68" fmla="*/ 155140 w 178348"/>
                <a:gd name="connsiteY68" fmla="*/ 70761 h 185732"/>
                <a:gd name="connsiteX69" fmla="*/ 162721 w 178348"/>
                <a:gd name="connsiteY69" fmla="*/ 65170 h 185732"/>
                <a:gd name="connsiteX70" fmla="*/ 149882 w 178348"/>
                <a:gd name="connsiteY70" fmla="*/ 43101 h 185732"/>
                <a:gd name="connsiteX71" fmla="*/ 141347 w 178348"/>
                <a:gd name="connsiteY71" fmla="*/ 46844 h 185732"/>
                <a:gd name="connsiteX72" fmla="*/ 105167 w 178348"/>
                <a:gd name="connsiteY72" fmla="*/ 32696 h 185732"/>
                <a:gd name="connsiteX73" fmla="*/ 103028 w 178348"/>
                <a:gd name="connsiteY73" fmla="*/ 24708 h 185732"/>
                <a:gd name="connsiteX74" fmla="*/ 101980 w 178348"/>
                <a:gd name="connsiteY74" fmla="*/ 15411 h 185732"/>
                <a:gd name="connsiteX75" fmla="*/ 89284 w 178348"/>
                <a:gd name="connsiteY75" fmla="*/ 14297 h 185732"/>
                <a:gd name="connsiteX76" fmla="*/ 89160 w 178348"/>
                <a:gd name="connsiteY76" fmla="*/ 57150 h 185732"/>
                <a:gd name="connsiteX77" fmla="*/ 124879 w 178348"/>
                <a:gd name="connsiteY77" fmla="*/ 92869 h 185732"/>
                <a:gd name="connsiteX78" fmla="*/ 89160 w 178348"/>
                <a:gd name="connsiteY78" fmla="*/ 128588 h 185732"/>
                <a:gd name="connsiteX79" fmla="*/ 53441 w 178348"/>
                <a:gd name="connsiteY79" fmla="*/ 92869 h 185732"/>
                <a:gd name="connsiteX80" fmla="*/ 89160 w 178348"/>
                <a:gd name="connsiteY80" fmla="*/ 57150 h 185732"/>
                <a:gd name="connsiteX81" fmla="*/ 89160 w 178348"/>
                <a:gd name="connsiteY81" fmla="*/ 71438 h 185732"/>
                <a:gd name="connsiteX82" fmla="*/ 67729 w 178348"/>
                <a:gd name="connsiteY82" fmla="*/ 92869 h 185732"/>
                <a:gd name="connsiteX83" fmla="*/ 89160 w 178348"/>
                <a:gd name="connsiteY83" fmla="*/ 114300 h 185732"/>
                <a:gd name="connsiteX84" fmla="*/ 110591 w 178348"/>
                <a:gd name="connsiteY84" fmla="*/ 92869 h 185732"/>
                <a:gd name="connsiteX85" fmla="*/ 89160 w 178348"/>
                <a:gd name="connsiteY85" fmla="*/ 71438 h 1857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Lst>
              <a:rect l="l" t="t" r="r" b="b"/>
              <a:pathLst>
                <a:path w="178348" h="185732">
                  <a:moveTo>
                    <a:pt x="89274" y="0"/>
                  </a:moveTo>
                  <a:cubicBezTo>
                    <a:pt x="96265" y="76"/>
                    <a:pt x="103228" y="886"/>
                    <a:pt x="110058" y="2410"/>
                  </a:cubicBezTo>
                  <a:cubicBezTo>
                    <a:pt x="113036" y="3075"/>
                    <a:pt x="115263" y="5558"/>
                    <a:pt x="115601" y="8592"/>
                  </a:cubicBezTo>
                  <a:lnTo>
                    <a:pt x="117220" y="23136"/>
                  </a:lnTo>
                  <a:cubicBezTo>
                    <a:pt x="118027" y="30372"/>
                    <a:pt x="124547" y="35584"/>
                    <a:pt x="131782" y="34777"/>
                  </a:cubicBezTo>
                  <a:cubicBezTo>
                    <a:pt x="133090" y="34631"/>
                    <a:pt x="134368" y="34290"/>
                    <a:pt x="135575" y="33766"/>
                  </a:cubicBezTo>
                  <a:lnTo>
                    <a:pt x="148920" y="27908"/>
                  </a:lnTo>
                  <a:cubicBezTo>
                    <a:pt x="151696" y="26685"/>
                    <a:pt x="154943" y="27350"/>
                    <a:pt x="157016" y="29566"/>
                  </a:cubicBezTo>
                  <a:cubicBezTo>
                    <a:pt x="166654" y="39863"/>
                    <a:pt x="173832" y="52212"/>
                    <a:pt x="178009" y="65684"/>
                  </a:cubicBezTo>
                  <a:cubicBezTo>
                    <a:pt x="178906" y="68586"/>
                    <a:pt x="177871" y="71738"/>
                    <a:pt x="175428" y="73543"/>
                  </a:cubicBezTo>
                  <a:lnTo>
                    <a:pt x="163598" y="82267"/>
                  </a:lnTo>
                  <a:cubicBezTo>
                    <a:pt x="157743" y="86568"/>
                    <a:pt x="156483" y="94801"/>
                    <a:pt x="160784" y="100656"/>
                  </a:cubicBezTo>
                  <a:cubicBezTo>
                    <a:pt x="161574" y="101731"/>
                    <a:pt x="162522" y="102680"/>
                    <a:pt x="163598" y="103470"/>
                  </a:cubicBezTo>
                  <a:lnTo>
                    <a:pt x="175437" y="112185"/>
                  </a:lnTo>
                  <a:cubicBezTo>
                    <a:pt x="177888" y="113989"/>
                    <a:pt x="178928" y="117146"/>
                    <a:pt x="178028" y="120053"/>
                  </a:cubicBezTo>
                  <a:cubicBezTo>
                    <a:pt x="173849" y="133524"/>
                    <a:pt x="166672" y="145873"/>
                    <a:pt x="157035" y="156172"/>
                  </a:cubicBezTo>
                  <a:cubicBezTo>
                    <a:pt x="154967" y="158383"/>
                    <a:pt x="151731" y="159050"/>
                    <a:pt x="148958" y="157839"/>
                  </a:cubicBezTo>
                  <a:lnTo>
                    <a:pt x="135556" y="151962"/>
                  </a:lnTo>
                  <a:cubicBezTo>
                    <a:pt x="128908" y="149046"/>
                    <a:pt x="121154" y="152073"/>
                    <a:pt x="118240" y="158722"/>
                  </a:cubicBezTo>
                  <a:cubicBezTo>
                    <a:pt x="117703" y="159946"/>
                    <a:pt x="117356" y="161244"/>
                    <a:pt x="117211" y="162573"/>
                  </a:cubicBezTo>
                  <a:lnTo>
                    <a:pt x="115601" y="177108"/>
                  </a:lnTo>
                  <a:cubicBezTo>
                    <a:pt x="115269" y="180106"/>
                    <a:pt x="113089" y="182573"/>
                    <a:pt x="110153" y="183271"/>
                  </a:cubicBezTo>
                  <a:cubicBezTo>
                    <a:pt x="96356" y="186553"/>
                    <a:pt x="81983" y="186553"/>
                    <a:pt x="68186" y="183271"/>
                  </a:cubicBezTo>
                  <a:cubicBezTo>
                    <a:pt x="65251" y="182573"/>
                    <a:pt x="63070" y="180106"/>
                    <a:pt x="62737" y="177108"/>
                  </a:cubicBezTo>
                  <a:lnTo>
                    <a:pt x="61137" y="162592"/>
                  </a:lnTo>
                  <a:cubicBezTo>
                    <a:pt x="60314" y="155369"/>
                    <a:pt x="53790" y="150181"/>
                    <a:pt x="46567" y="151005"/>
                  </a:cubicBezTo>
                  <a:cubicBezTo>
                    <a:pt x="45265" y="151153"/>
                    <a:pt x="43993" y="151495"/>
                    <a:pt x="42792" y="152019"/>
                  </a:cubicBezTo>
                  <a:lnTo>
                    <a:pt x="29400" y="157886"/>
                  </a:lnTo>
                  <a:cubicBezTo>
                    <a:pt x="26624" y="159103"/>
                    <a:pt x="23382" y="158434"/>
                    <a:pt x="21313" y="156220"/>
                  </a:cubicBezTo>
                  <a:cubicBezTo>
                    <a:pt x="11671" y="145910"/>
                    <a:pt x="4493" y="133547"/>
                    <a:pt x="320" y="120063"/>
                  </a:cubicBezTo>
                  <a:cubicBezTo>
                    <a:pt x="-580" y="117156"/>
                    <a:pt x="460" y="113998"/>
                    <a:pt x="2911" y="112195"/>
                  </a:cubicBezTo>
                  <a:lnTo>
                    <a:pt x="14751" y="103470"/>
                  </a:lnTo>
                  <a:cubicBezTo>
                    <a:pt x="20605" y="99178"/>
                    <a:pt x="21873" y="90952"/>
                    <a:pt x="17581" y="85097"/>
                  </a:cubicBezTo>
                  <a:cubicBezTo>
                    <a:pt x="16787" y="84015"/>
                    <a:pt x="15833" y="83061"/>
                    <a:pt x="14751" y="82267"/>
                  </a:cubicBezTo>
                  <a:lnTo>
                    <a:pt x="2911" y="73562"/>
                  </a:lnTo>
                  <a:cubicBezTo>
                    <a:pt x="463" y="71756"/>
                    <a:pt x="-573" y="68599"/>
                    <a:pt x="330" y="65694"/>
                  </a:cubicBezTo>
                  <a:cubicBezTo>
                    <a:pt x="4507" y="52222"/>
                    <a:pt x="11684" y="39873"/>
                    <a:pt x="21323" y="29575"/>
                  </a:cubicBezTo>
                  <a:cubicBezTo>
                    <a:pt x="23396" y="27359"/>
                    <a:pt x="26642" y="26695"/>
                    <a:pt x="29419" y="27918"/>
                  </a:cubicBezTo>
                  <a:lnTo>
                    <a:pt x="42754" y="33776"/>
                  </a:lnTo>
                  <a:cubicBezTo>
                    <a:pt x="49448" y="36678"/>
                    <a:pt x="57228" y="33603"/>
                    <a:pt x="60130" y="26909"/>
                  </a:cubicBezTo>
                  <a:cubicBezTo>
                    <a:pt x="60652" y="25705"/>
                    <a:pt x="60991" y="24430"/>
                    <a:pt x="61137" y="23127"/>
                  </a:cubicBezTo>
                  <a:lnTo>
                    <a:pt x="62757" y="8592"/>
                  </a:lnTo>
                  <a:cubicBezTo>
                    <a:pt x="63092" y="5552"/>
                    <a:pt x="65324" y="3063"/>
                    <a:pt x="68310" y="2400"/>
                  </a:cubicBezTo>
                  <a:cubicBezTo>
                    <a:pt x="75139" y="886"/>
                    <a:pt x="82121" y="86"/>
                    <a:pt x="89274" y="0"/>
                  </a:cubicBezTo>
                  <a:close/>
                  <a:moveTo>
                    <a:pt x="89274" y="14288"/>
                  </a:moveTo>
                  <a:cubicBezTo>
                    <a:pt x="84954" y="14338"/>
                    <a:pt x="80643" y="14711"/>
                    <a:pt x="76377" y="15402"/>
                  </a:cubicBezTo>
                  <a:lnTo>
                    <a:pt x="75339" y="24708"/>
                  </a:lnTo>
                  <a:cubicBezTo>
                    <a:pt x="73664" y="39797"/>
                    <a:pt x="60073" y="50671"/>
                    <a:pt x="44984" y="48995"/>
                  </a:cubicBezTo>
                  <a:cubicBezTo>
                    <a:pt x="42234" y="48690"/>
                    <a:pt x="39546" y="47971"/>
                    <a:pt x="37010" y="46863"/>
                  </a:cubicBezTo>
                  <a:lnTo>
                    <a:pt x="28457" y="43110"/>
                  </a:lnTo>
                  <a:cubicBezTo>
                    <a:pt x="23009" y="49722"/>
                    <a:pt x="18672" y="57176"/>
                    <a:pt x="15617" y="65180"/>
                  </a:cubicBezTo>
                  <a:lnTo>
                    <a:pt x="23218" y="70771"/>
                  </a:lnTo>
                  <a:cubicBezTo>
                    <a:pt x="35431" y="79746"/>
                    <a:pt x="38055" y="96922"/>
                    <a:pt x="29080" y="109134"/>
                  </a:cubicBezTo>
                  <a:cubicBezTo>
                    <a:pt x="27434" y="111373"/>
                    <a:pt x="25458" y="113349"/>
                    <a:pt x="23218" y="114995"/>
                  </a:cubicBezTo>
                  <a:lnTo>
                    <a:pt x="15608" y="120596"/>
                  </a:lnTo>
                  <a:cubicBezTo>
                    <a:pt x="18656" y="128616"/>
                    <a:pt x="22999" y="136084"/>
                    <a:pt x="28447" y="142713"/>
                  </a:cubicBezTo>
                  <a:lnTo>
                    <a:pt x="37068" y="138932"/>
                  </a:lnTo>
                  <a:cubicBezTo>
                    <a:pt x="50962" y="132865"/>
                    <a:pt x="67143" y="139211"/>
                    <a:pt x="73209" y="153105"/>
                  </a:cubicBezTo>
                  <a:cubicBezTo>
                    <a:pt x="74308" y="155619"/>
                    <a:pt x="75022" y="158285"/>
                    <a:pt x="75330" y="161011"/>
                  </a:cubicBezTo>
                  <a:lnTo>
                    <a:pt x="76377" y="170383"/>
                  </a:lnTo>
                  <a:cubicBezTo>
                    <a:pt x="84845" y="171812"/>
                    <a:pt x="93503" y="171812"/>
                    <a:pt x="101971" y="170383"/>
                  </a:cubicBezTo>
                  <a:lnTo>
                    <a:pt x="103019" y="161011"/>
                  </a:lnTo>
                  <a:cubicBezTo>
                    <a:pt x="104689" y="145948"/>
                    <a:pt x="118254" y="135090"/>
                    <a:pt x="133318" y="136761"/>
                  </a:cubicBezTo>
                  <a:cubicBezTo>
                    <a:pt x="136068" y="137066"/>
                    <a:pt x="138756" y="137785"/>
                    <a:pt x="141290" y="138894"/>
                  </a:cubicBezTo>
                  <a:lnTo>
                    <a:pt x="149910" y="142665"/>
                  </a:lnTo>
                  <a:cubicBezTo>
                    <a:pt x="155356" y="136050"/>
                    <a:pt x="159689" y="128593"/>
                    <a:pt x="162740" y="120587"/>
                  </a:cubicBezTo>
                  <a:lnTo>
                    <a:pt x="155140" y="114986"/>
                  </a:lnTo>
                  <a:cubicBezTo>
                    <a:pt x="142928" y="106010"/>
                    <a:pt x="140303" y="88835"/>
                    <a:pt x="149278" y="76623"/>
                  </a:cubicBezTo>
                  <a:cubicBezTo>
                    <a:pt x="150924" y="74384"/>
                    <a:pt x="152900" y="72407"/>
                    <a:pt x="155140" y="70761"/>
                  </a:cubicBezTo>
                  <a:lnTo>
                    <a:pt x="162721" y="65170"/>
                  </a:lnTo>
                  <a:cubicBezTo>
                    <a:pt x="159667" y="57166"/>
                    <a:pt x="155330" y="49712"/>
                    <a:pt x="149882" y="43101"/>
                  </a:cubicBezTo>
                  <a:lnTo>
                    <a:pt x="141347" y="46844"/>
                  </a:lnTo>
                  <a:cubicBezTo>
                    <a:pt x="127449" y="52928"/>
                    <a:pt x="111251" y="46594"/>
                    <a:pt x="105167" y="32696"/>
                  </a:cubicBezTo>
                  <a:cubicBezTo>
                    <a:pt x="104055" y="30156"/>
                    <a:pt x="103334" y="27463"/>
                    <a:pt x="103028" y="24708"/>
                  </a:cubicBezTo>
                  <a:lnTo>
                    <a:pt x="101980" y="15411"/>
                  </a:lnTo>
                  <a:cubicBezTo>
                    <a:pt x="97782" y="14725"/>
                    <a:pt x="93538" y="14352"/>
                    <a:pt x="89284" y="14297"/>
                  </a:cubicBezTo>
                  <a:close/>
                  <a:moveTo>
                    <a:pt x="89160" y="57150"/>
                  </a:moveTo>
                  <a:cubicBezTo>
                    <a:pt x="108887" y="57150"/>
                    <a:pt x="124879" y="73142"/>
                    <a:pt x="124879" y="92869"/>
                  </a:cubicBezTo>
                  <a:cubicBezTo>
                    <a:pt x="124879" y="112596"/>
                    <a:pt x="108887" y="128588"/>
                    <a:pt x="89160" y="128588"/>
                  </a:cubicBezTo>
                  <a:cubicBezTo>
                    <a:pt x="69433" y="128588"/>
                    <a:pt x="53441" y="112596"/>
                    <a:pt x="53441" y="92869"/>
                  </a:cubicBezTo>
                  <a:cubicBezTo>
                    <a:pt x="53441" y="73142"/>
                    <a:pt x="69433" y="57150"/>
                    <a:pt x="89160" y="57150"/>
                  </a:cubicBezTo>
                  <a:close/>
                  <a:moveTo>
                    <a:pt x="89160" y="71438"/>
                  </a:moveTo>
                  <a:cubicBezTo>
                    <a:pt x="77324" y="71438"/>
                    <a:pt x="67729" y="81033"/>
                    <a:pt x="67729" y="92869"/>
                  </a:cubicBezTo>
                  <a:cubicBezTo>
                    <a:pt x="67729" y="104705"/>
                    <a:pt x="77324" y="114300"/>
                    <a:pt x="89160" y="114300"/>
                  </a:cubicBezTo>
                  <a:cubicBezTo>
                    <a:pt x="100996" y="114300"/>
                    <a:pt x="110591" y="104705"/>
                    <a:pt x="110591" y="92869"/>
                  </a:cubicBezTo>
                  <a:cubicBezTo>
                    <a:pt x="110591" y="81033"/>
                    <a:pt x="100996" y="71438"/>
                    <a:pt x="89160" y="71438"/>
                  </a:cubicBezTo>
                  <a:close/>
                </a:path>
              </a:pathLst>
            </a:custGeom>
            <a:gradFill flip="none" rotWithShape="1">
              <a:gsLst>
                <a:gs pos="0">
                  <a:srgbClr val="0078D4"/>
                </a:gs>
                <a:gs pos="100000">
                  <a:srgbClr val="C53FCC"/>
                </a:gs>
              </a:gsLst>
              <a:lin ang="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lIns="704088" tIns="45720" rIns="91440" bIns="45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white"/>
                </a:solidFill>
                <a:effectLst/>
                <a:uLnTx/>
                <a:uFillTx/>
                <a:latin typeface="Segoe UI Semibold"/>
                <a:ea typeface="+mn-ea"/>
                <a:cs typeface="+mn-cs"/>
              </a:endParaRPr>
            </a:p>
          </p:txBody>
        </p:sp>
      </p:grpSp>
      <p:sp>
        <p:nvSpPr>
          <p:cNvPr id="10" name="Title 9">
            <a:extLst>
              <a:ext uri="{FF2B5EF4-FFF2-40B4-BE49-F238E27FC236}">
                <a16:creationId xmlns:a16="http://schemas.microsoft.com/office/drawing/2014/main" id="{52243E5C-1609-A31A-0260-7BBAA869475F}"/>
              </a:ext>
            </a:extLst>
          </p:cNvPr>
          <p:cNvSpPr>
            <a:spLocks noGrp="1"/>
          </p:cNvSpPr>
          <p:nvPr>
            <p:ph type="title"/>
          </p:nvPr>
        </p:nvSpPr>
        <p:spPr/>
        <p:txBody>
          <a:bodyPr/>
          <a:lstStyle/>
          <a:p>
            <a:r>
              <a:rPr lang="en-US" dirty="0"/>
              <a:t>Why you should run a Hackathon</a:t>
            </a:r>
            <a:endParaRPr lang="en-GB" dirty="0">
              <a:cs typeface="Segoe UI Semibold"/>
            </a:endParaRPr>
          </a:p>
        </p:txBody>
      </p:sp>
      <p:sp>
        <p:nvSpPr>
          <p:cNvPr id="5" name="TextBox 7, chunk 1, chunk 1">
            <a:extLst>
              <a:ext uri="{FF2B5EF4-FFF2-40B4-BE49-F238E27FC236}">
                <a16:creationId xmlns:a16="http://schemas.microsoft.com/office/drawing/2014/main" id="{CFED64DA-A00B-BF54-EEE8-FBF989B1AEC4}"/>
              </a:ext>
            </a:extLst>
          </p:cNvPr>
          <p:cNvSpPr txBox="1"/>
          <p:nvPr/>
        </p:nvSpPr>
        <p:spPr>
          <a:xfrm>
            <a:off x="1522747" y="2281662"/>
            <a:ext cx="10016110" cy="1410643"/>
          </a:xfrm>
          <a:prstGeom prst="rect">
            <a:avLst/>
          </a:prstGeom>
          <a:noFill/>
        </p:spPr>
        <p:txBody>
          <a:bodyPr wrap="square" lIns="0" tIns="0" rIns="0" bIns="0" numCol="1" rtlCol="0" anchor="t">
            <a:spAutoFit/>
          </a:bodyPr>
          <a:lstStyle>
            <a:defPPr>
              <a:defRPr lang="en-US"/>
            </a:defPPr>
            <a:lvl1pPr marR="0" lvl="0" indent="0" fontAlgn="auto">
              <a:lnSpc>
                <a:spcPct val="100000"/>
              </a:lnSpc>
              <a:spcBef>
                <a:spcPts val="0"/>
              </a:spcBef>
              <a:spcAft>
                <a:spcPts val="0"/>
              </a:spcAft>
              <a:buClrTx/>
              <a:buSzTx/>
              <a:buFontTx/>
              <a:buNone/>
              <a:tabLst/>
              <a:defRPr kumimoji="0" sz="2000" b="0" i="0" u="none" strike="noStrike" kern="0" cap="none" spc="0" normalizeH="0" baseline="0">
                <a:ln>
                  <a:noFill/>
                </a:ln>
                <a:solidFill>
                  <a:prstClr val="black"/>
                </a:solidFill>
                <a:effectLst/>
                <a:uLnTx/>
                <a:uFillTx/>
                <a:latin typeface="Segoe UI"/>
              </a:defRPr>
            </a:lvl1pPr>
          </a:lstStyle>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1600" b="0" i="0" u="none" strike="noStrike" kern="0" cap="none" spc="0" normalizeH="0" baseline="0" noProof="0" dirty="0">
                <a:ln>
                  <a:noFill/>
                </a:ln>
                <a:solidFill>
                  <a:srgbClr val="0078D4"/>
                </a:solidFill>
                <a:effectLst/>
                <a:uLnTx/>
                <a:uFillTx/>
                <a:latin typeface="Segoe UI Semibold"/>
                <a:ea typeface="+mn-ea"/>
                <a:cs typeface="+mn-cs"/>
              </a:rPr>
              <a:t>Key issues today</a:t>
            </a:r>
          </a:p>
          <a:p>
            <a:pPr marL="320675" indent="-198120">
              <a:spcAft>
                <a:spcPts val="600"/>
              </a:spcAft>
              <a:buFont typeface="Arial" panose="020B0604020202020204" pitchFamily="34" charset="0"/>
              <a:buChar char="•"/>
              <a:defRPr/>
            </a:pPr>
            <a:r>
              <a:rPr lang="en-US" sz="1600" dirty="0"/>
              <a:t>Organizations want</a:t>
            </a:r>
            <a:r>
              <a:rPr kumimoji="0" lang="en-US" sz="1600" b="0" i="0" u="none" strike="noStrike" kern="0" cap="none" spc="0" normalizeH="0" baseline="0" noProof="0" dirty="0">
                <a:ln>
                  <a:noFill/>
                </a:ln>
                <a:effectLst/>
                <a:uLnTx/>
                <a:uFillTx/>
                <a:latin typeface="Segoe UI"/>
                <a:ea typeface="+mn-ea"/>
                <a:cs typeface="+mn-cs"/>
              </a:rPr>
              <a:t> to understand how to start the journey of being a Frontier Firm</a:t>
            </a:r>
            <a:endParaRPr lang="en-US" sz="1600" b="0" i="0" u="none" strike="noStrike" kern="0" cap="none" spc="0" normalizeH="0" baseline="0" noProof="0" dirty="0">
              <a:ln>
                <a:noFill/>
              </a:ln>
              <a:effectLst/>
              <a:uLnTx/>
              <a:uFillTx/>
              <a:latin typeface="Segoe UI"/>
              <a:cs typeface="Segoe UI"/>
            </a:endParaRPr>
          </a:p>
          <a:p>
            <a:pPr marL="320675" marR="0" lvl="0" indent="-19812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600" b="0" i="0" u="none" strike="noStrike" kern="0" cap="none" spc="0" normalizeH="0" baseline="0" noProof="0" dirty="0">
                <a:ln>
                  <a:noFill/>
                </a:ln>
                <a:effectLst/>
                <a:uLnTx/>
                <a:uFillTx/>
                <a:latin typeface="Segoe UI"/>
                <a:ea typeface="+mn-ea"/>
                <a:cs typeface="+mn-cs"/>
              </a:rPr>
              <a:t>IT doesn’t know the key productivity or business use-cases where agents could bring ROI</a:t>
            </a:r>
            <a:endParaRPr lang="en-US" sz="1600" b="0" i="0" u="none" strike="noStrike" kern="0" cap="none" spc="0" normalizeH="0" baseline="0" noProof="0" dirty="0">
              <a:ln>
                <a:noFill/>
              </a:ln>
              <a:effectLst/>
              <a:uLnTx/>
              <a:uFillTx/>
              <a:latin typeface="Segoe UI"/>
              <a:cs typeface="Segoe UI"/>
            </a:endParaRPr>
          </a:p>
          <a:p>
            <a:pPr marL="320675" indent="-198120">
              <a:spcAft>
                <a:spcPts val="600"/>
              </a:spcAft>
              <a:buFont typeface="Arial" panose="020B0604020202020204" pitchFamily="34" charset="0"/>
              <a:buChar char="•"/>
              <a:defRPr/>
            </a:pPr>
            <a:r>
              <a:rPr lang="en-US" sz="1600" dirty="0"/>
              <a:t>Business Decision Makers</a:t>
            </a:r>
            <a:r>
              <a:rPr kumimoji="0" lang="en-US" sz="1600" b="0" i="0" u="none" strike="noStrike" kern="0" cap="none" spc="0" normalizeH="0" baseline="0" noProof="0" dirty="0">
                <a:ln>
                  <a:noFill/>
                </a:ln>
                <a:effectLst/>
                <a:uLnTx/>
                <a:uFillTx/>
                <a:latin typeface="Segoe UI"/>
                <a:ea typeface="+mn-ea"/>
                <a:cs typeface="+mn-cs"/>
              </a:rPr>
              <a:t> don’t know enough about Agents to self-serve. Neither do they have a framework to articulate what they need built with the requirements that IT is looking for</a:t>
            </a:r>
            <a:endParaRPr lang="en-US" sz="1600" b="0" i="0" u="none" strike="noStrike" kern="0" cap="none" spc="0" normalizeH="0" baseline="0" noProof="0" dirty="0">
              <a:ln>
                <a:noFill/>
              </a:ln>
              <a:effectLst/>
              <a:uLnTx/>
              <a:uFillTx/>
              <a:latin typeface="Segoe UI"/>
              <a:cs typeface="Segoe UI"/>
            </a:endParaRPr>
          </a:p>
        </p:txBody>
      </p:sp>
      <p:sp>
        <p:nvSpPr>
          <p:cNvPr id="12" name="TextBox 7, chunk 1, chunk 1">
            <a:extLst>
              <a:ext uri="{FF2B5EF4-FFF2-40B4-BE49-F238E27FC236}">
                <a16:creationId xmlns:a16="http://schemas.microsoft.com/office/drawing/2014/main" id="{7A7BEFBB-705F-5C17-11F4-F60FA7851755}"/>
              </a:ext>
            </a:extLst>
          </p:cNvPr>
          <p:cNvSpPr txBox="1"/>
          <p:nvPr/>
        </p:nvSpPr>
        <p:spPr>
          <a:xfrm>
            <a:off x="1522747" y="4019292"/>
            <a:ext cx="10016110" cy="1010533"/>
          </a:xfrm>
          <a:prstGeom prst="rect">
            <a:avLst/>
          </a:prstGeom>
          <a:noFill/>
        </p:spPr>
        <p:txBody>
          <a:bodyPr wrap="square" lIns="0" tIns="0" rIns="0" bIns="0" numCol="1" rtlCol="0" anchor="t">
            <a:spAutoFit/>
          </a:bodyPr>
          <a:lstStyle>
            <a:defPPr>
              <a:defRPr lang="en-US"/>
            </a:defPPr>
            <a:lvl1pPr marR="0" lvl="0" indent="0" fontAlgn="auto">
              <a:lnSpc>
                <a:spcPct val="100000"/>
              </a:lnSpc>
              <a:spcBef>
                <a:spcPts val="0"/>
              </a:spcBef>
              <a:spcAft>
                <a:spcPts val="0"/>
              </a:spcAft>
              <a:buClrTx/>
              <a:buSzTx/>
              <a:buFontTx/>
              <a:buNone/>
              <a:tabLst/>
              <a:defRPr kumimoji="0" sz="2000" b="0" i="0" u="none" strike="noStrike" kern="0" cap="none" spc="0" normalizeH="0" baseline="0">
                <a:ln>
                  <a:noFill/>
                </a:ln>
                <a:solidFill>
                  <a:prstClr val="black"/>
                </a:solidFill>
                <a:effectLst/>
                <a:uLnTx/>
                <a:uFillTx/>
                <a:latin typeface="Segoe UI"/>
              </a:defRPr>
            </a:lvl1pPr>
          </a:lstStyle>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1600" b="0" i="0" u="none" strike="noStrike" kern="0" cap="none" spc="0" normalizeH="0" baseline="0" noProof="0" dirty="0">
                <a:ln>
                  <a:noFill/>
                </a:ln>
                <a:solidFill>
                  <a:srgbClr val="0078D4"/>
                </a:solidFill>
                <a:effectLst/>
                <a:uLnTx/>
                <a:uFillTx/>
                <a:latin typeface="Segoe UI Semibold"/>
                <a:ea typeface="+mn-ea"/>
                <a:cs typeface="+mn-cs"/>
              </a:rPr>
              <a:t>Agent Hack-a-thon events</a:t>
            </a:r>
          </a:p>
          <a:p>
            <a:pPr>
              <a:spcAft>
                <a:spcPts val="200"/>
              </a:spcAft>
              <a:defRPr/>
            </a:pPr>
            <a:r>
              <a:rPr kumimoji="0" lang="en-US" sz="1600" b="0" i="0" u="none" strike="noStrike" kern="0" cap="none" spc="0" normalizeH="0" baseline="0" noProof="0" dirty="0">
                <a:ln>
                  <a:noFill/>
                </a:ln>
                <a:effectLst/>
                <a:uLnTx/>
                <a:uFillTx/>
                <a:latin typeface="Segoe UI"/>
                <a:ea typeface="+mn-ea"/>
                <a:cs typeface="+mn-cs"/>
              </a:rPr>
              <a:t>This guide has been designed to help </a:t>
            </a:r>
            <a:r>
              <a:rPr kumimoji="0" lang="en-US" sz="1600" b="0" i="0" u="none" strike="noStrike" kern="0" cap="none" spc="0" normalizeH="0" baseline="0" noProof="0" dirty="0">
                <a:ln>
                  <a:noFill/>
                </a:ln>
                <a:solidFill>
                  <a:srgbClr val="0078D4"/>
                </a:solidFill>
                <a:effectLst/>
                <a:uLnTx/>
                <a:uFillTx/>
                <a:latin typeface="Segoe UI"/>
                <a:ea typeface="+mn-ea"/>
                <a:cs typeface="+mn-cs"/>
              </a:rPr>
              <a:t>accelerate adoption of agentic AI solutions </a:t>
            </a:r>
            <a:r>
              <a:rPr kumimoji="0" lang="en-US" sz="1600" b="0" i="0" u="none" strike="noStrike" kern="0" cap="none" spc="0" normalizeH="0" baseline="0" noProof="0" dirty="0">
                <a:ln>
                  <a:noFill/>
                </a:ln>
                <a:effectLst/>
                <a:uLnTx/>
                <a:uFillTx/>
                <a:latin typeface="Segoe UI"/>
                <a:ea typeface="+mn-ea"/>
                <a:cs typeface="+mn-cs"/>
              </a:rPr>
              <a:t>by demystifying agents and providing a high-level overview to BDM audiences. It provides you the toolkit that will drive </a:t>
            </a:r>
            <a:r>
              <a:rPr kumimoji="0" lang="en-US" sz="1600" b="0" i="0" u="none" strike="noStrike" kern="0" cap="none" spc="0" normalizeH="0" baseline="0" noProof="0" dirty="0">
                <a:ln>
                  <a:noFill/>
                </a:ln>
                <a:solidFill>
                  <a:srgbClr val="0078D4"/>
                </a:solidFill>
                <a:effectLst/>
                <a:uLnTx/>
                <a:uFillTx/>
                <a:latin typeface="Segoe UI"/>
                <a:ea typeface="+mn-ea"/>
                <a:cs typeface="+mn-cs"/>
              </a:rPr>
              <a:t>hands-on experiences</a:t>
            </a:r>
            <a:r>
              <a:rPr kumimoji="0" lang="en-US" sz="1600" b="0" i="0" u="none" strike="noStrike" kern="0" cap="none" spc="0" normalizeH="0" baseline="0" noProof="0" dirty="0">
                <a:ln>
                  <a:noFill/>
                </a:ln>
                <a:effectLst/>
                <a:uLnTx/>
                <a:uFillTx/>
                <a:latin typeface="Segoe UI"/>
                <a:ea typeface="+mn-ea"/>
                <a:cs typeface="+mn-cs"/>
              </a:rPr>
              <a:t> with the </a:t>
            </a:r>
            <a:r>
              <a:rPr lang="en-US" sz="1600" dirty="0"/>
              <a:t>Agent Builder</a:t>
            </a:r>
            <a:r>
              <a:rPr kumimoji="0" lang="en-US" sz="1600" b="0" i="0" u="none" strike="noStrike" kern="0" cap="none" spc="0" normalizeH="0" baseline="0" noProof="0" dirty="0">
                <a:ln>
                  <a:noFill/>
                </a:ln>
                <a:effectLst/>
                <a:uLnTx/>
                <a:uFillTx/>
                <a:latin typeface="Segoe UI"/>
                <a:ea typeface="+mn-ea"/>
                <a:cs typeface="+mn-cs"/>
              </a:rPr>
              <a:t> experience</a:t>
            </a:r>
            <a:endParaRPr lang="en-US" sz="1600" b="0" i="0" u="none" strike="noStrike" kern="0" cap="none" spc="0" normalizeH="0" baseline="0" noProof="0" dirty="0">
              <a:ln>
                <a:noFill/>
              </a:ln>
              <a:effectLst/>
              <a:uLnTx/>
              <a:uFillTx/>
              <a:latin typeface="Segoe UI"/>
              <a:cs typeface="Segoe UI"/>
            </a:endParaRPr>
          </a:p>
        </p:txBody>
      </p:sp>
      <p:sp>
        <p:nvSpPr>
          <p:cNvPr id="16" name="TextBox 7, chunk 1, chunk 1">
            <a:extLst>
              <a:ext uri="{FF2B5EF4-FFF2-40B4-BE49-F238E27FC236}">
                <a16:creationId xmlns:a16="http://schemas.microsoft.com/office/drawing/2014/main" id="{888B4170-DAC5-ADD0-516D-AAEE67D92BE7}"/>
              </a:ext>
            </a:extLst>
          </p:cNvPr>
          <p:cNvSpPr txBox="1"/>
          <p:nvPr/>
        </p:nvSpPr>
        <p:spPr>
          <a:xfrm>
            <a:off x="1522747" y="5344016"/>
            <a:ext cx="10016110" cy="738664"/>
          </a:xfrm>
          <a:prstGeom prst="rect">
            <a:avLst/>
          </a:prstGeom>
          <a:noFill/>
        </p:spPr>
        <p:txBody>
          <a:bodyPr wrap="square" lIns="0" tIns="0" rIns="0" bIns="0" numCol="1" rtlCol="0" anchor="t">
            <a:spAutoFit/>
          </a:bodyPr>
          <a:lstStyle>
            <a:defPPr>
              <a:defRPr lang="en-US"/>
            </a:defPPr>
            <a:lvl1pPr marR="0" lvl="0" indent="0" fontAlgn="auto">
              <a:lnSpc>
                <a:spcPct val="100000"/>
              </a:lnSpc>
              <a:spcBef>
                <a:spcPts val="0"/>
              </a:spcBef>
              <a:spcAft>
                <a:spcPts val="0"/>
              </a:spcAft>
              <a:buClrTx/>
              <a:buSzTx/>
              <a:buFontTx/>
              <a:buNone/>
              <a:tabLst/>
              <a:defRPr kumimoji="0" sz="2000" b="0" i="0" u="none" strike="noStrike" kern="0" cap="none" spc="0" normalizeH="0" baseline="0">
                <a:ln>
                  <a:noFill/>
                </a:ln>
                <a:solidFill>
                  <a:prstClr val="black"/>
                </a:solidFill>
                <a:effectLst/>
                <a:uLnTx/>
                <a:uFillTx/>
                <a:latin typeface="Segoe UI"/>
              </a:defRPr>
            </a:lvl1pPr>
          </a:lstStyle>
          <a:p>
            <a:pPr>
              <a:spcAft>
                <a:spcPts val="200"/>
              </a:spcAft>
              <a:defRPr/>
            </a:pPr>
            <a:r>
              <a:rPr kumimoji="0" lang="en-US" sz="1600" b="0" i="0" u="none" strike="noStrike" kern="0" cap="none" spc="0" normalizeH="0" baseline="0" noProof="0">
                <a:ln>
                  <a:noFill/>
                </a:ln>
                <a:effectLst/>
                <a:uLnTx/>
                <a:uFillTx/>
                <a:latin typeface="Segoe UI"/>
                <a:ea typeface="+mn-ea"/>
                <a:cs typeface="+mn-cs"/>
              </a:rPr>
              <a:t>This event also provides</a:t>
            </a:r>
            <a:r>
              <a:rPr lang="en-US" sz="1600">
                <a:solidFill>
                  <a:srgbClr val="FF0000"/>
                </a:solidFill>
              </a:rPr>
              <a:t> </a:t>
            </a:r>
            <a:r>
              <a:rPr lang="en-US" sz="1600">
                <a:solidFill>
                  <a:srgbClr val="000000"/>
                </a:solidFill>
              </a:rPr>
              <a:t>Business Decision Makers</a:t>
            </a:r>
            <a:r>
              <a:rPr lang="en-US" sz="1600"/>
              <a:t> </a:t>
            </a:r>
            <a:r>
              <a:rPr kumimoji="0" lang="en-US" sz="1600" b="0" i="0" u="none" strike="noStrike" kern="0" cap="none" spc="0" normalizeH="0" baseline="0" noProof="0">
                <a:ln>
                  <a:noFill/>
                </a:ln>
                <a:effectLst/>
                <a:uLnTx/>
                <a:uFillTx/>
                <a:latin typeface="Segoe UI"/>
                <a:ea typeface="+mn-ea"/>
                <a:cs typeface="+mn-cs"/>
              </a:rPr>
              <a:t>with the </a:t>
            </a:r>
            <a:r>
              <a:rPr kumimoji="0" lang="en-US" sz="1600" b="0" i="0" u="none" strike="noStrike" kern="0" cap="none" spc="0" normalizeH="0" baseline="0" noProof="0">
                <a:ln>
                  <a:noFill/>
                </a:ln>
                <a:solidFill>
                  <a:srgbClr val="0078D4"/>
                </a:solidFill>
                <a:effectLst/>
                <a:uLnTx/>
                <a:uFillTx/>
                <a:latin typeface="Segoe UI"/>
                <a:ea typeface="+mn-ea"/>
                <a:cs typeface="+mn-cs"/>
              </a:rPr>
              <a:t>tools &amp; templates </a:t>
            </a:r>
            <a:r>
              <a:rPr kumimoji="0" lang="en-US" sz="1600" b="0" i="0" u="none" strike="noStrike" kern="0" cap="none" spc="0" normalizeH="0" baseline="0" noProof="0">
                <a:ln>
                  <a:noFill/>
                </a:ln>
                <a:effectLst/>
                <a:uLnTx/>
                <a:uFillTx/>
                <a:latin typeface="Segoe UI"/>
                <a:ea typeface="+mn-ea"/>
                <a:cs typeface="+mn-cs"/>
              </a:rPr>
              <a:t>that help them articulate use-cases better, which then helps their IT organizations support and prioritize developer resources towards more complex asks. We’ve also added a </a:t>
            </a:r>
            <a:r>
              <a:rPr kumimoji="0" lang="en-US" sz="1600" b="0" i="0" u="none" strike="noStrike" kern="0" cap="none" spc="0" normalizeH="0" baseline="0" noProof="0">
                <a:ln>
                  <a:noFill/>
                </a:ln>
                <a:solidFill>
                  <a:srgbClr val="0078D4"/>
                </a:solidFill>
                <a:effectLst/>
                <a:uLnTx/>
                <a:uFillTx/>
                <a:latin typeface="Segoe UI"/>
                <a:ea typeface="+mn-ea"/>
                <a:cs typeface="+mn-cs"/>
              </a:rPr>
              <a:t>creative element </a:t>
            </a:r>
            <a:r>
              <a:rPr kumimoji="0" lang="en-US" sz="1600" b="0" i="0" u="none" strike="noStrike" kern="0" cap="none" spc="0" normalizeH="0" baseline="0" noProof="0">
                <a:ln>
                  <a:noFill/>
                </a:ln>
                <a:effectLst/>
                <a:uLnTx/>
                <a:uFillTx/>
                <a:latin typeface="Segoe UI"/>
                <a:ea typeface="+mn-ea"/>
                <a:cs typeface="+mn-cs"/>
              </a:rPr>
              <a:t>to delight your audiences</a:t>
            </a:r>
          </a:p>
        </p:txBody>
      </p:sp>
    </p:spTree>
    <p:extLst>
      <p:ext uri="{BB962C8B-B14F-4D97-AF65-F5344CB8AC3E}">
        <p14:creationId xmlns:p14="http://schemas.microsoft.com/office/powerpoint/2010/main" val="128375885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54" name="Picture 53">
            <a:extLst>
              <a:ext uri="{FF2B5EF4-FFF2-40B4-BE49-F238E27FC236}">
                <a16:creationId xmlns:a16="http://schemas.microsoft.com/office/drawing/2014/main" id="{6A1210A8-A44A-871A-D6F4-2B785F89424F}"/>
              </a:ext>
              <a:ext uri="{C183D7F6-B498-43B3-948B-1728B52AA6E4}">
                <adec:decorative xmlns:adec="http://schemas.microsoft.com/office/drawing/2017/decorative" val="1"/>
              </a:ext>
            </a:extLst>
          </p:cNvPr>
          <p:cNvPicPr>
            <a:picLocks noChangeAspect="1"/>
          </p:cNvPicPr>
          <p:nvPr/>
        </p:nvPicPr>
        <p:blipFill>
          <a:blip r:embed="rId4" cstate="screen">
            <a:extLst>
              <a:ext uri="{28A0092B-C50C-407E-A947-70E740481C1C}">
                <a14:useLocalDpi xmlns:a14="http://schemas.microsoft.com/office/drawing/2010/main"/>
              </a:ext>
            </a:extLst>
          </a:blip>
          <a:srcRect/>
          <a:stretch>
            <a:fillRect/>
          </a:stretch>
        </p:blipFill>
        <p:spPr>
          <a:xfrm>
            <a:off x="8564811" y="0"/>
            <a:ext cx="3627189" cy="2380343"/>
          </a:xfrm>
          <a:prstGeom prst="rect">
            <a:avLst/>
          </a:prstGeom>
        </p:spPr>
      </p:pic>
      <p:sp>
        <p:nvSpPr>
          <p:cNvPr id="16" name="Rectangle: Rounded Corners 50">
            <a:extLst>
              <a:ext uri="{FF2B5EF4-FFF2-40B4-BE49-F238E27FC236}">
                <a16:creationId xmlns:a16="http://schemas.microsoft.com/office/drawing/2014/main" id="{AC0975D7-CE8D-EC43-32B8-E274E66F8E91}"/>
              </a:ext>
              <a:ext uri="{C183D7F6-B498-43B3-948B-1728B52AA6E4}">
                <adec:decorative xmlns:adec="http://schemas.microsoft.com/office/drawing/2017/decorative" val="1"/>
              </a:ext>
            </a:extLst>
          </p:cNvPr>
          <p:cNvSpPr>
            <a:spLocks/>
          </p:cNvSpPr>
          <p:nvPr/>
        </p:nvSpPr>
        <p:spPr bwMode="auto">
          <a:xfrm>
            <a:off x="503464" y="1436688"/>
            <a:ext cx="7141936" cy="4849812"/>
          </a:xfrm>
          <a:prstGeom prst="roundRect">
            <a:avLst>
              <a:gd name="adj" fmla="val 3527"/>
            </a:avLst>
          </a:prstGeom>
          <a:solidFill>
            <a:schemeClr val="bg1"/>
          </a:solidFill>
          <a:ln>
            <a:noFill/>
          </a:ln>
          <a:effectLst>
            <a:outerShdw blurRad="228600" dist="63500" dir="2700000" algn="tl" rotWithShape="0">
              <a:prstClr val="black">
                <a:alpha val="1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base" latinLnBrk="0" hangingPunct="1">
              <a:lnSpc>
                <a:spcPct val="100000"/>
              </a:lnSpc>
              <a:spcBef>
                <a:spcPct val="0"/>
              </a:spcBef>
              <a:spcAft>
                <a:spcPts val="1200"/>
              </a:spcAft>
              <a:buClrTx/>
              <a:buSzTx/>
              <a:buFontTx/>
              <a:buNone/>
              <a:tabLst>
                <a:tab pos="457200" algn="l"/>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cxnSp>
        <p:nvCxnSpPr>
          <p:cNvPr id="36" name="Straight Connector 35">
            <a:extLst>
              <a:ext uri="{FF2B5EF4-FFF2-40B4-BE49-F238E27FC236}">
                <a16:creationId xmlns:a16="http://schemas.microsoft.com/office/drawing/2014/main" id="{3885B9C3-5C0C-3B11-2686-A21F8E2DC8A6}"/>
              </a:ext>
              <a:ext uri="{C183D7F6-B498-43B3-948B-1728B52AA6E4}">
                <adec:decorative xmlns:adec="http://schemas.microsoft.com/office/drawing/2017/decorative" val="1"/>
              </a:ext>
            </a:extLst>
          </p:cNvPr>
          <p:cNvCxnSpPr>
            <a:cxnSpLocks/>
          </p:cNvCxnSpPr>
          <p:nvPr/>
        </p:nvCxnSpPr>
        <p:spPr>
          <a:xfrm>
            <a:off x="1522748" y="2845251"/>
            <a:ext cx="5817852" cy="0"/>
          </a:xfrm>
          <a:prstGeom prst="line">
            <a:avLst/>
          </a:prstGeom>
          <a:ln w="12700">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E89114CB-8889-415B-1B0C-7AE9F2B1D024}"/>
              </a:ext>
              <a:ext uri="{C183D7F6-B498-43B3-948B-1728B52AA6E4}">
                <adec:decorative xmlns:adec="http://schemas.microsoft.com/office/drawing/2017/decorative" val="1"/>
              </a:ext>
            </a:extLst>
          </p:cNvPr>
          <p:cNvCxnSpPr>
            <a:cxnSpLocks/>
          </p:cNvCxnSpPr>
          <p:nvPr/>
        </p:nvCxnSpPr>
        <p:spPr>
          <a:xfrm>
            <a:off x="1522748" y="4634205"/>
            <a:ext cx="5817852" cy="0"/>
          </a:xfrm>
          <a:prstGeom prst="line">
            <a:avLst/>
          </a:prstGeom>
          <a:ln w="12700">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69" name="Group 68">
            <a:extLst>
              <a:ext uri="{FF2B5EF4-FFF2-40B4-BE49-F238E27FC236}">
                <a16:creationId xmlns:a16="http://schemas.microsoft.com/office/drawing/2014/main" id="{9D20C3EE-7692-F58B-8513-8324C7848DEE}"/>
              </a:ext>
              <a:ext uri="{C183D7F6-B498-43B3-948B-1728B52AA6E4}">
                <adec:decorative xmlns:adec="http://schemas.microsoft.com/office/drawing/2017/decorative" val="1"/>
              </a:ext>
            </a:extLst>
          </p:cNvPr>
          <p:cNvGrpSpPr/>
          <p:nvPr/>
        </p:nvGrpSpPr>
        <p:grpSpPr>
          <a:xfrm>
            <a:off x="756015" y="1673775"/>
            <a:ext cx="549017" cy="549017"/>
            <a:chOff x="756015" y="1673775"/>
            <a:chExt cx="549017" cy="549017"/>
          </a:xfrm>
        </p:grpSpPr>
        <p:sp>
          <p:nvSpPr>
            <p:cNvPr id="14" name="Oval 13">
              <a:extLst>
                <a:ext uri="{FF2B5EF4-FFF2-40B4-BE49-F238E27FC236}">
                  <a16:creationId xmlns:a16="http://schemas.microsoft.com/office/drawing/2014/main" id="{4E288316-8039-4599-9F8A-C814C751BF4D}"/>
                </a:ext>
              </a:extLst>
            </p:cNvPr>
            <p:cNvSpPr>
              <a:spLocks/>
            </p:cNvSpPr>
            <p:nvPr/>
          </p:nvSpPr>
          <p:spPr bwMode="auto">
            <a:xfrm>
              <a:off x="756015" y="1673775"/>
              <a:ext cx="549017" cy="549017"/>
            </a:xfrm>
            <a:prstGeom prst="ellipse">
              <a:avLst/>
            </a:prstGeom>
            <a:solidFill>
              <a:schemeClr val="bg1"/>
            </a:solidFill>
            <a:ln w="19050">
              <a:gradFill>
                <a:gsLst>
                  <a:gs pos="100000">
                    <a:srgbClr val="C03BC4"/>
                  </a:gs>
                  <a:gs pos="0">
                    <a:srgbClr val="0078D4"/>
                  </a:gs>
                </a:gsLst>
                <a:lin ang="0" scaled="0"/>
              </a:gradFill>
            </a:ln>
            <a:effectLst>
              <a:outerShdw blurRad="177800" dist="25400" algn="tl" rotWithShape="0">
                <a:prstClr val="black">
                  <a:alpha val="5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61" name="Graphic 8" descr="Icon of an AI robot">
              <a:extLst>
                <a:ext uri="{FF2B5EF4-FFF2-40B4-BE49-F238E27FC236}">
                  <a16:creationId xmlns:a16="http://schemas.microsoft.com/office/drawing/2014/main" id="{FCDB43AA-5831-C9D6-372F-593E910EF4A2}"/>
                </a:ext>
              </a:extLst>
            </p:cNvPr>
            <p:cNvSpPr>
              <a:spLocks noChangeAspect="1"/>
            </p:cNvSpPr>
            <p:nvPr/>
          </p:nvSpPr>
          <p:spPr>
            <a:xfrm>
              <a:off x="905138" y="1791541"/>
              <a:ext cx="250772" cy="313484"/>
            </a:xfrm>
            <a:custGeom>
              <a:avLst/>
              <a:gdLst>
                <a:gd name="connsiteX0" fmla="*/ 310304 w 361083"/>
                <a:gd name="connsiteY0" fmla="*/ 270807 h 451381"/>
                <a:gd name="connsiteX1" fmla="*/ 361083 w 361083"/>
                <a:gd name="connsiteY1" fmla="*/ 321586 h 451381"/>
                <a:gd name="connsiteX2" fmla="*/ 361083 w 361083"/>
                <a:gd name="connsiteY2" fmla="*/ 342013 h 451381"/>
                <a:gd name="connsiteX3" fmla="*/ 331579 w 361083"/>
                <a:gd name="connsiteY3" fmla="*/ 406227 h 451381"/>
                <a:gd name="connsiteX4" fmla="*/ 180468 w 361083"/>
                <a:gd name="connsiteY4" fmla="*/ 451382 h 451381"/>
                <a:gd name="connsiteX5" fmla="*/ 29458 w 361083"/>
                <a:gd name="connsiteY5" fmla="*/ 406238 h 451381"/>
                <a:gd name="connsiteX6" fmla="*/ 0 w 361083"/>
                <a:gd name="connsiteY6" fmla="*/ 342063 h 451381"/>
                <a:gd name="connsiteX7" fmla="*/ 0 w 361083"/>
                <a:gd name="connsiteY7" fmla="*/ 321586 h 451381"/>
                <a:gd name="connsiteX8" fmla="*/ 50779 w 361083"/>
                <a:gd name="connsiteY8" fmla="*/ 270807 h 451381"/>
                <a:gd name="connsiteX9" fmla="*/ 310304 w 361083"/>
                <a:gd name="connsiteY9" fmla="*/ 270807 h 451381"/>
                <a:gd name="connsiteX10" fmla="*/ 310304 w 361083"/>
                <a:gd name="connsiteY10" fmla="*/ 304660 h 451381"/>
                <a:gd name="connsiteX11" fmla="*/ 50779 w 361083"/>
                <a:gd name="connsiteY11" fmla="*/ 304660 h 451381"/>
                <a:gd name="connsiteX12" fmla="*/ 33853 w 361083"/>
                <a:gd name="connsiteY12" fmla="*/ 321586 h 451381"/>
                <a:gd name="connsiteX13" fmla="*/ 33853 w 361083"/>
                <a:gd name="connsiteY13" fmla="*/ 342063 h 451381"/>
                <a:gd name="connsiteX14" fmla="*/ 51527 w 361083"/>
                <a:gd name="connsiteY14" fmla="*/ 380569 h 451381"/>
                <a:gd name="connsiteX15" fmla="*/ 180468 w 361083"/>
                <a:gd name="connsiteY15" fmla="*/ 417529 h 451381"/>
                <a:gd name="connsiteX16" fmla="*/ 309530 w 361083"/>
                <a:gd name="connsiteY16" fmla="*/ 380542 h 451381"/>
                <a:gd name="connsiteX17" fmla="*/ 327231 w 361083"/>
                <a:gd name="connsiteY17" fmla="*/ 342013 h 451381"/>
                <a:gd name="connsiteX18" fmla="*/ 327231 w 361083"/>
                <a:gd name="connsiteY18" fmla="*/ 321586 h 451381"/>
                <a:gd name="connsiteX19" fmla="*/ 310304 w 361083"/>
                <a:gd name="connsiteY19" fmla="*/ 304660 h 451381"/>
                <a:gd name="connsiteX20" fmla="*/ 178177 w 361083"/>
                <a:gd name="connsiteY20" fmla="*/ 155 h 451381"/>
                <a:gd name="connsiteX21" fmla="*/ 180475 w 361083"/>
                <a:gd name="connsiteY21" fmla="*/ 0 h 451381"/>
                <a:gd name="connsiteX22" fmla="*/ 197245 w 361083"/>
                <a:gd name="connsiteY22" fmla="*/ 14630 h 451381"/>
                <a:gd name="connsiteX23" fmla="*/ 197401 w 361083"/>
                <a:gd name="connsiteY23" fmla="*/ 16926 h 451381"/>
                <a:gd name="connsiteX24" fmla="*/ 197383 w 361083"/>
                <a:gd name="connsiteY24" fmla="*/ 33830 h 451381"/>
                <a:gd name="connsiteX25" fmla="*/ 276384 w 361083"/>
                <a:gd name="connsiteY25" fmla="*/ 33842 h 451381"/>
                <a:gd name="connsiteX26" fmla="*/ 327163 w 361083"/>
                <a:gd name="connsiteY26" fmla="*/ 84621 h 451381"/>
                <a:gd name="connsiteX27" fmla="*/ 327163 w 361083"/>
                <a:gd name="connsiteY27" fmla="*/ 186282 h 451381"/>
                <a:gd name="connsiteX28" fmla="*/ 276384 w 361083"/>
                <a:gd name="connsiteY28" fmla="*/ 237061 h 451381"/>
                <a:gd name="connsiteX29" fmla="*/ 84551 w 361083"/>
                <a:gd name="connsiteY29" fmla="*/ 237061 h 451381"/>
                <a:gd name="connsiteX30" fmla="*/ 33773 w 361083"/>
                <a:gd name="connsiteY30" fmla="*/ 186282 h 451381"/>
                <a:gd name="connsiteX31" fmla="*/ 33773 w 361083"/>
                <a:gd name="connsiteY31" fmla="*/ 84621 h 451381"/>
                <a:gd name="connsiteX32" fmla="*/ 84551 w 361083"/>
                <a:gd name="connsiteY32" fmla="*/ 33842 h 451381"/>
                <a:gd name="connsiteX33" fmla="*/ 163531 w 361083"/>
                <a:gd name="connsiteY33" fmla="*/ 33830 h 451381"/>
                <a:gd name="connsiteX34" fmla="*/ 163549 w 361083"/>
                <a:gd name="connsiteY34" fmla="*/ 16926 h 451381"/>
                <a:gd name="connsiteX35" fmla="*/ 178177 w 361083"/>
                <a:gd name="connsiteY35" fmla="*/ 155 h 451381"/>
                <a:gd name="connsiteX36" fmla="*/ 180475 w 361083"/>
                <a:gd name="connsiteY36" fmla="*/ 0 h 451381"/>
                <a:gd name="connsiteX37" fmla="*/ 178177 w 361083"/>
                <a:gd name="connsiteY37" fmla="*/ 155 h 451381"/>
                <a:gd name="connsiteX38" fmla="*/ 276384 w 361083"/>
                <a:gd name="connsiteY38" fmla="*/ 67694 h 451381"/>
                <a:gd name="connsiteX39" fmla="*/ 84551 w 361083"/>
                <a:gd name="connsiteY39" fmla="*/ 67694 h 451381"/>
                <a:gd name="connsiteX40" fmla="*/ 67625 w 361083"/>
                <a:gd name="connsiteY40" fmla="*/ 84621 h 451381"/>
                <a:gd name="connsiteX41" fmla="*/ 67625 w 361083"/>
                <a:gd name="connsiteY41" fmla="*/ 186282 h 451381"/>
                <a:gd name="connsiteX42" fmla="*/ 84551 w 361083"/>
                <a:gd name="connsiteY42" fmla="*/ 203208 h 451381"/>
                <a:gd name="connsiteX43" fmla="*/ 276384 w 361083"/>
                <a:gd name="connsiteY43" fmla="*/ 203208 h 451381"/>
                <a:gd name="connsiteX44" fmla="*/ 293310 w 361083"/>
                <a:gd name="connsiteY44" fmla="*/ 186282 h 451381"/>
                <a:gd name="connsiteX45" fmla="*/ 293310 w 361083"/>
                <a:gd name="connsiteY45" fmla="*/ 84621 h 451381"/>
                <a:gd name="connsiteX46" fmla="*/ 276384 w 361083"/>
                <a:gd name="connsiteY46" fmla="*/ 67694 h 451381"/>
                <a:gd name="connsiteX47" fmla="*/ 129672 w 361083"/>
                <a:gd name="connsiteY47" fmla="*/ 101547 h 451381"/>
                <a:gd name="connsiteX48" fmla="*/ 157866 w 361083"/>
                <a:gd name="connsiteY48" fmla="*/ 129741 h 451381"/>
                <a:gd name="connsiteX49" fmla="*/ 129672 w 361083"/>
                <a:gd name="connsiteY49" fmla="*/ 157936 h 451381"/>
                <a:gd name="connsiteX50" fmla="*/ 101478 w 361083"/>
                <a:gd name="connsiteY50" fmla="*/ 129741 h 451381"/>
                <a:gd name="connsiteX51" fmla="*/ 129672 w 361083"/>
                <a:gd name="connsiteY51" fmla="*/ 101547 h 451381"/>
                <a:gd name="connsiteX52" fmla="*/ 231067 w 361083"/>
                <a:gd name="connsiteY52" fmla="*/ 101547 h 451381"/>
                <a:gd name="connsiteX53" fmla="*/ 259261 w 361083"/>
                <a:gd name="connsiteY53" fmla="*/ 129741 h 451381"/>
                <a:gd name="connsiteX54" fmla="*/ 231067 w 361083"/>
                <a:gd name="connsiteY54" fmla="*/ 157936 h 451381"/>
                <a:gd name="connsiteX55" fmla="*/ 202872 w 361083"/>
                <a:gd name="connsiteY55" fmla="*/ 129741 h 451381"/>
                <a:gd name="connsiteX56" fmla="*/ 231067 w 361083"/>
                <a:gd name="connsiteY56" fmla="*/ 101547 h 4513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Lst>
              <a:rect l="l" t="t" r="r" b="b"/>
              <a:pathLst>
                <a:path w="361083" h="451381">
                  <a:moveTo>
                    <a:pt x="310304" y="270807"/>
                  </a:moveTo>
                  <a:cubicBezTo>
                    <a:pt x="338350" y="270807"/>
                    <a:pt x="361083" y="293543"/>
                    <a:pt x="361083" y="321586"/>
                  </a:cubicBezTo>
                  <a:lnTo>
                    <a:pt x="361083" y="342013"/>
                  </a:lnTo>
                  <a:cubicBezTo>
                    <a:pt x="361083" y="366696"/>
                    <a:pt x="350309" y="390149"/>
                    <a:pt x="331579" y="406227"/>
                  </a:cubicBezTo>
                  <a:cubicBezTo>
                    <a:pt x="296251" y="436557"/>
                    <a:pt x="245691" y="451382"/>
                    <a:pt x="180468" y="451382"/>
                  </a:cubicBezTo>
                  <a:cubicBezTo>
                    <a:pt x="115256" y="451382"/>
                    <a:pt x="64729" y="436563"/>
                    <a:pt x="29458" y="406238"/>
                  </a:cubicBezTo>
                  <a:cubicBezTo>
                    <a:pt x="10757" y="390161"/>
                    <a:pt x="0" y="366726"/>
                    <a:pt x="0" y="342063"/>
                  </a:cubicBezTo>
                  <a:lnTo>
                    <a:pt x="0" y="321586"/>
                  </a:lnTo>
                  <a:cubicBezTo>
                    <a:pt x="0" y="293543"/>
                    <a:pt x="22735" y="270807"/>
                    <a:pt x="50779" y="270807"/>
                  </a:cubicBezTo>
                  <a:lnTo>
                    <a:pt x="310304" y="270807"/>
                  </a:lnTo>
                  <a:close/>
                  <a:moveTo>
                    <a:pt x="310304" y="304660"/>
                  </a:moveTo>
                  <a:lnTo>
                    <a:pt x="50779" y="304660"/>
                  </a:lnTo>
                  <a:cubicBezTo>
                    <a:pt x="41431" y="304660"/>
                    <a:pt x="33853" y="312239"/>
                    <a:pt x="33853" y="321586"/>
                  </a:cubicBezTo>
                  <a:lnTo>
                    <a:pt x="33853" y="342063"/>
                  </a:lnTo>
                  <a:cubicBezTo>
                    <a:pt x="33853" y="356861"/>
                    <a:pt x="40307" y="370921"/>
                    <a:pt x="51527" y="380569"/>
                  </a:cubicBezTo>
                  <a:cubicBezTo>
                    <a:pt x="79920" y="404979"/>
                    <a:pt x="122710" y="417529"/>
                    <a:pt x="180468" y="417529"/>
                  </a:cubicBezTo>
                  <a:cubicBezTo>
                    <a:pt x="238241" y="417529"/>
                    <a:pt x="281074" y="404972"/>
                    <a:pt x="309530" y="380542"/>
                  </a:cubicBezTo>
                  <a:cubicBezTo>
                    <a:pt x="320765" y="370894"/>
                    <a:pt x="327231" y="356822"/>
                    <a:pt x="327231" y="342013"/>
                  </a:cubicBezTo>
                  <a:lnTo>
                    <a:pt x="327231" y="321586"/>
                  </a:lnTo>
                  <a:cubicBezTo>
                    <a:pt x="327231" y="312239"/>
                    <a:pt x="319652" y="304660"/>
                    <a:pt x="310304" y="304660"/>
                  </a:cubicBezTo>
                  <a:close/>
                  <a:moveTo>
                    <a:pt x="178177" y="155"/>
                  </a:moveTo>
                  <a:lnTo>
                    <a:pt x="180475" y="0"/>
                  </a:lnTo>
                  <a:cubicBezTo>
                    <a:pt x="189044" y="0"/>
                    <a:pt x="196126" y="6368"/>
                    <a:pt x="197245" y="14630"/>
                  </a:cubicBezTo>
                  <a:lnTo>
                    <a:pt x="197401" y="16926"/>
                  </a:lnTo>
                  <a:lnTo>
                    <a:pt x="197383" y="33830"/>
                  </a:lnTo>
                  <a:lnTo>
                    <a:pt x="276384" y="33842"/>
                  </a:lnTo>
                  <a:cubicBezTo>
                    <a:pt x="304427" y="33842"/>
                    <a:pt x="327163" y="56576"/>
                    <a:pt x="327163" y="84621"/>
                  </a:cubicBezTo>
                  <a:lnTo>
                    <a:pt x="327163" y="186282"/>
                  </a:lnTo>
                  <a:cubicBezTo>
                    <a:pt x="327163" y="214325"/>
                    <a:pt x="304427" y="237061"/>
                    <a:pt x="276384" y="237061"/>
                  </a:cubicBezTo>
                  <a:lnTo>
                    <a:pt x="84551" y="237061"/>
                  </a:lnTo>
                  <a:cubicBezTo>
                    <a:pt x="56507" y="237061"/>
                    <a:pt x="33773" y="214325"/>
                    <a:pt x="33773" y="186282"/>
                  </a:cubicBezTo>
                  <a:lnTo>
                    <a:pt x="33773" y="84621"/>
                  </a:lnTo>
                  <a:cubicBezTo>
                    <a:pt x="33773" y="56576"/>
                    <a:pt x="56507" y="33842"/>
                    <a:pt x="84551" y="33842"/>
                  </a:cubicBezTo>
                  <a:lnTo>
                    <a:pt x="163531" y="33830"/>
                  </a:lnTo>
                  <a:lnTo>
                    <a:pt x="163549" y="16926"/>
                  </a:lnTo>
                  <a:cubicBezTo>
                    <a:pt x="163549" y="8357"/>
                    <a:pt x="169915" y="1275"/>
                    <a:pt x="178177" y="155"/>
                  </a:cubicBezTo>
                  <a:lnTo>
                    <a:pt x="180475" y="0"/>
                  </a:lnTo>
                  <a:lnTo>
                    <a:pt x="178177" y="155"/>
                  </a:lnTo>
                  <a:close/>
                  <a:moveTo>
                    <a:pt x="276384" y="67694"/>
                  </a:moveTo>
                  <a:lnTo>
                    <a:pt x="84551" y="67694"/>
                  </a:lnTo>
                  <a:cubicBezTo>
                    <a:pt x="75203" y="67694"/>
                    <a:pt x="67625" y="75272"/>
                    <a:pt x="67625" y="84621"/>
                  </a:cubicBezTo>
                  <a:lnTo>
                    <a:pt x="67625" y="186282"/>
                  </a:lnTo>
                  <a:cubicBezTo>
                    <a:pt x="67625" y="195630"/>
                    <a:pt x="75203" y="203208"/>
                    <a:pt x="84551" y="203208"/>
                  </a:cubicBezTo>
                  <a:lnTo>
                    <a:pt x="276384" y="203208"/>
                  </a:lnTo>
                  <a:cubicBezTo>
                    <a:pt x="285732" y="203208"/>
                    <a:pt x="293310" y="195630"/>
                    <a:pt x="293310" y="186282"/>
                  </a:cubicBezTo>
                  <a:lnTo>
                    <a:pt x="293310" y="84621"/>
                  </a:lnTo>
                  <a:cubicBezTo>
                    <a:pt x="293310" y="75272"/>
                    <a:pt x="285732" y="67694"/>
                    <a:pt x="276384" y="67694"/>
                  </a:cubicBezTo>
                  <a:close/>
                  <a:moveTo>
                    <a:pt x="129672" y="101547"/>
                  </a:moveTo>
                  <a:cubicBezTo>
                    <a:pt x="145243" y="101547"/>
                    <a:pt x="157866" y="114170"/>
                    <a:pt x="157866" y="129741"/>
                  </a:cubicBezTo>
                  <a:cubicBezTo>
                    <a:pt x="157866" y="145313"/>
                    <a:pt x="145243" y="157936"/>
                    <a:pt x="129672" y="157936"/>
                  </a:cubicBezTo>
                  <a:cubicBezTo>
                    <a:pt x="114101" y="157936"/>
                    <a:pt x="101478" y="145313"/>
                    <a:pt x="101478" y="129741"/>
                  </a:cubicBezTo>
                  <a:cubicBezTo>
                    <a:pt x="101478" y="114170"/>
                    <a:pt x="114101" y="101547"/>
                    <a:pt x="129672" y="101547"/>
                  </a:cubicBezTo>
                  <a:close/>
                  <a:moveTo>
                    <a:pt x="231067" y="101547"/>
                  </a:moveTo>
                  <a:cubicBezTo>
                    <a:pt x="246639" y="101547"/>
                    <a:pt x="259261" y="114170"/>
                    <a:pt x="259261" y="129741"/>
                  </a:cubicBezTo>
                  <a:cubicBezTo>
                    <a:pt x="259261" y="145313"/>
                    <a:pt x="246639" y="157936"/>
                    <a:pt x="231067" y="157936"/>
                  </a:cubicBezTo>
                  <a:cubicBezTo>
                    <a:pt x="215494" y="157936"/>
                    <a:pt x="202872" y="145313"/>
                    <a:pt x="202872" y="129741"/>
                  </a:cubicBezTo>
                  <a:cubicBezTo>
                    <a:pt x="202872" y="114170"/>
                    <a:pt x="215494" y="101547"/>
                    <a:pt x="231067" y="101547"/>
                  </a:cubicBezTo>
                  <a:close/>
                </a:path>
              </a:pathLst>
            </a:custGeom>
            <a:gradFill flip="none" rotWithShape="1">
              <a:gsLst>
                <a:gs pos="0">
                  <a:srgbClr val="0078D4"/>
                </a:gs>
                <a:gs pos="100000">
                  <a:srgbClr val="C53FCC"/>
                </a:gs>
              </a:gsLst>
              <a:lin ang="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lIns="704088" tIns="45720" rIns="91440" bIns="45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white"/>
                </a:solidFill>
                <a:effectLst/>
                <a:uLnTx/>
                <a:uFillTx/>
                <a:latin typeface="Segoe UI Semibold"/>
                <a:ea typeface="+mn-ea"/>
                <a:cs typeface="+mn-cs"/>
              </a:endParaRPr>
            </a:p>
          </p:txBody>
        </p:sp>
      </p:grpSp>
      <p:grpSp>
        <p:nvGrpSpPr>
          <p:cNvPr id="68" name="Group 67">
            <a:extLst>
              <a:ext uri="{FF2B5EF4-FFF2-40B4-BE49-F238E27FC236}">
                <a16:creationId xmlns:a16="http://schemas.microsoft.com/office/drawing/2014/main" id="{FFDFAAEC-95BA-94F8-4BD4-E05E03706E1B}"/>
              </a:ext>
              <a:ext uri="{C183D7F6-B498-43B3-948B-1728B52AA6E4}">
                <adec:decorative xmlns:adec="http://schemas.microsoft.com/office/drawing/2017/decorative" val="1"/>
              </a:ext>
            </a:extLst>
          </p:cNvPr>
          <p:cNvGrpSpPr/>
          <p:nvPr/>
        </p:nvGrpSpPr>
        <p:grpSpPr>
          <a:xfrm>
            <a:off x="756015" y="4974684"/>
            <a:ext cx="549017" cy="549017"/>
            <a:chOff x="756015" y="4974684"/>
            <a:chExt cx="549017" cy="549017"/>
          </a:xfrm>
        </p:grpSpPr>
        <p:sp>
          <p:nvSpPr>
            <p:cNvPr id="21" name="Oval 20">
              <a:extLst>
                <a:ext uri="{FF2B5EF4-FFF2-40B4-BE49-F238E27FC236}">
                  <a16:creationId xmlns:a16="http://schemas.microsoft.com/office/drawing/2014/main" id="{0808CFFD-9926-8D59-458B-48E9406CFEA4}"/>
                </a:ext>
              </a:extLst>
            </p:cNvPr>
            <p:cNvSpPr>
              <a:spLocks/>
            </p:cNvSpPr>
            <p:nvPr/>
          </p:nvSpPr>
          <p:spPr bwMode="auto">
            <a:xfrm>
              <a:off x="756015" y="4974684"/>
              <a:ext cx="549017" cy="549017"/>
            </a:xfrm>
            <a:prstGeom prst="ellipse">
              <a:avLst/>
            </a:prstGeom>
            <a:solidFill>
              <a:schemeClr val="bg1"/>
            </a:solidFill>
            <a:ln w="19050">
              <a:gradFill>
                <a:gsLst>
                  <a:gs pos="100000">
                    <a:srgbClr val="C03BC4"/>
                  </a:gs>
                  <a:gs pos="0">
                    <a:srgbClr val="0078D4"/>
                  </a:gs>
                </a:gsLst>
                <a:lin ang="0" scaled="0"/>
              </a:gradFill>
            </a:ln>
            <a:effectLst>
              <a:outerShdw blurRad="177800" dist="25400" algn="tl" rotWithShape="0">
                <a:prstClr val="black">
                  <a:alpha val="5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65" name="Graphic 62">
              <a:extLst>
                <a:ext uri="{FF2B5EF4-FFF2-40B4-BE49-F238E27FC236}">
                  <a16:creationId xmlns:a16="http://schemas.microsoft.com/office/drawing/2014/main" id="{E7F33059-4B13-6030-28E6-596DC5C78C14}"/>
                </a:ext>
              </a:extLst>
            </p:cNvPr>
            <p:cNvSpPr/>
            <p:nvPr/>
          </p:nvSpPr>
          <p:spPr>
            <a:xfrm>
              <a:off x="910904" y="5092088"/>
              <a:ext cx="239240" cy="314208"/>
            </a:xfrm>
            <a:custGeom>
              <a:avLst/>
              <a:gdLst>
                <a:gd name="connsiteX0" fmla="*/ 26730 w 145741"/>
                <a:gd name="connsiteY0" fmla="*/ 4463 h 191412"/>
                <a:gd name="connsiteX1" fmla="*/ 37846 w 145741"/>
                <a:gd name="connsiteY1" fmla="*/ 1120 h 191412"/>
                <a:gd name="connsiteX2" fmla="*/ 69297 w 145741"/>
                <a:gd name="connsiteY2" fmla="*/ 15455 h 191412"/>
                <a:gd name="connsiteX3" fmla="*/ 77889 w 145741"/>
                <a:gd name="connsiteY3" fmla="*/ 34562 h 191412"/>
                <a:gd name="connsiteX4" fmla="*/ 71859 w 145741"/>
                <a:gd name="connsiteY4" fmla="*/ 64461 h 191412"/>
                <a:gd name="connsiteX5" fmla="*/ 57629 w 145741"/>
                <a:gd name="connsiteY5" fmla="*/ 77729 h 191412"/>
                <a:gd name="connsiteX6" fmla="*/ 56886 w 145741"/>
                <a:gd name="connsiteY6" fmla="*/ 79206 h 191412"/>
                <a:gd name="connsiteX7" fmla="*/ 64935 w 145741"/>
                <a:gd name="connsiteY7" fmla="*/ 100589 h 191412"/>
                <a:gd name="connsiteX8" fmla="*/ 76431 w 145741"/>
                <a:gd name="connsiteY8" fmla="*/ 116182 h 191412"/>
                <a:gd name="connsiteX9" fmla="*/ 80546 w 145741"/>
                <a:gd name="connsiteY9" fmla="*/ 118515 h 191412"/>
                <a:gd name="connsiteX10" fmla="*/ 99691 w 145741"/>
                <a:gd name="connsiteY10" fmla="*/ 112657 h 191412"/>
                <a:gd name="connsiteX11" fmla="*/ 128590 w 145741"/>
                <a:gd name="connsiteY11" fmla="*/ 122373 h 191412"/>
                <a:gd name="connsiteX12" fmla="*/ 140792 w 145741"/>
                <a:gd name="connsiteY12" fmla="*/ 139289 h 191412"/>
                <a:gd name="connsiteX13" fmla="*/ 137563 w 145741"/>
                <a:gd name="connsiteY13" fmla="*/ 173627 h 191412"/>
                <a:gd name="connsiteX14" fmla="*/ 129124 w 145741"/>
                <a:gd name="connsiteY14" fmla="*/ 181628 h 191412"/>
                <a:gd name="connsiteX15" fmla="*/ 94958 w 145741"/>
                <a:gd name="connsiteY15" fmla="*/ 190096 h 191412"/>
                <a:gd name="connsiteX16" fmla="*/ 24139 w 145741"/>
                <a:gd name="connsiteY16" fmla="*/ 124145 h 191412"/>
                <a:gd name="connsiteX17" fmla="*/ 2460 w 145741"/>
                <a:gd name="connsiteY17" fmla="*/ 29723 h 191412"/>
                <a:gd name="connsiteX18" fmla="*/ 26730 w 145741"/>
                <a:gd name="connsiteY18" fmla="*/ 4463 h 191412"/>
                <a:gd name="connsiteX19" fmla="*/ 30854 w 145741"/>
                <a:gd name="connsiteY19" fmla="*/ 18150 h 191412"/>
                <a:gd name="connsiteX20" fmla="*/ 16291 w 145741"/>
                <a:gd name="connsiteY20" fmla="*/ 33295 h 191412"/>
                <a:gd name="connsiteX21" fmla="*/ 36512 w 145741"/>
                <a:gd name="connsiteY21" fmla="*/ 117001 h 191412"/>
                <a:gd name="connsiteX22" fmla="*/ 98806 w 145741"/>
                <a:gd name="connsiteY22" fmla="*/ 176342 h 191412"/>
                <a:gd name="connsiteX23" fmla="*/ 119294 w 145741"/>
                <a:gd name="connsiteY23" fmla="*/ 171255 h 191412"/>
                <a:gd name="connsiteX24" fmla="*/ 127743 w 145741"/>
                <a:gd name="connsiteY24" fmla="*/ 163254 h 191412"/>
                <a:gd name="connsiteX25" fmla="*/ 129209 w 145741"/>
                <a:gd name="connsiteY25" fmla="*/ 147643 h 191412"/>
                <a:gd name="connsiteX26" fmla="*/ 117017 w 145741"/>
                <a:gd name="connsiteY26" fmla="*/ 130736 h 191412"/>
                <a:gd name="connsiteX27" fmla="*/ 103873 w 145741"/>
                <a:gd name="connsiteY27" fmla="*/ 126316 h 191412"/>
                <a:gd name="connsiteX28" fmla="*/ 84680 w 145741"/>
                <a:gd name="connsiteY28" fmla="*/ 132193 h 191412"/>
                <a:gd name="connsiteX29" fmla="*/ 52562 w 145741"/>
                <a:gd name="connsiteY29" fmla="*/ 107733 h 191412"/>
                <a:gd name="connsiteX30" fmla="*/ 42684 w 145741"/>
                <a:gd name="connsiteY30" fmla="*/ 77624 h 191412"/>
                <a:gd name="connsiteX31" fmla="*/ 47885 w 145741"/>
                <a:gd name="connsiteY31" fmla="*/ 67280 h 191412"/>
                <a:gd name="connsiteX32" fmla="*/ 62115 w 145741"/>
                <a:gd name="connsiteY32" fmla="*/ 54012 h 191412"/>
                <a:gd name="connsiteX33" fmla="*/ 64859 w 145741"/>
                <a:gd name="connsiteY33" fmla="*/ 40420 h 191412"/>
                <a:gd name="connsiteX34" fmla="*/ 56267 w 145741"/>
                <a:gd name="connsiteY34" fmla="*/ 21313 h 191412"/>
                <a:gd name="connsiteX35" fmla="*/ 41979 w 145741"/>
                <a:gd name="connsiteY35" fmla="*/ 14798 h 191412"/>
                <a:gd name="connsiteX36" fmla="*/ 30854 w 145741"/>
                <a:gd name="connsiteY36" fmla="*/ 18150 h 1914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145741" h="191412">
                  <a:moveTo>
                    <a:pt x="26730" y="4463"/>
                  </a:moveTo>
                  <a:lnTo>
                    <a:pt x="37846" y="1120"/>
                  </a:lnTo>
                  <a:cubicBezTo>
                    <a:pt x="50442" y="-2679"/>
                    <a:pt x="63901" y="3456"/>
                    <a:pt x="69297" y="15455"/>
                  </a:cubicBezTo>
                  <a:lnTo>
                    <a:pt x="77889" y="34562"/>
                  </a:lnTo>
                  <a:cubicBezTo>
                    <a:pt x="82487" y="44791"/>
                    <a:pt x="80063" y="56813"/>
                    <a:pt x="71859" y="64461"/>
                  </a:cubicBezTo>
                  <a:lnTo>
                    <a:pt x="57629" y="77729"/>
                  </a:lnTo>
                  <a:cubicBezTo>
                    <a:pt x="57213" y="78117"/>
                    <a:pt x="56950" y="78641"/>
                    <a:pt x="56886" y="79206"/>
                  </a:cubicBezTo>
                  <a:cubicBezTo>
                    <a:pt x="56467" y="82987"/>
                    <a:pt x="59029" y="90350"/>
                    <a:pt x="64935" y="100589"/>
                  </a:cubicBezTo>
                  <a:cubicBezTo>
                    <a:pt x="69230" y="108028"/>
                    <a:pt x="73126" y="113257"/>
                    <a:pt x="76431" y="116182"/>
                  </a:cubicBezTo>
                  <a:cubicBezTo>
                    <a:pt x="78736" y="118230"/>
                    <a:pt x="80003" y="118668"/>
                    <a:pt x="80546" y="118515"/>
                  </a:cubicBezTo>
                  <a:lnTo>
                    <a:pt x="99691" y="112657"/>
                  </a:lnTo>
                  <a:cubicBezTo>
                    <a:pt x="110411" y="109379"/>
                    <a:pt x="122029" y="113284"/>
                    <a:pt x="128590" y="122373"/>
                  </a:cubicBezTo>
                  <a:lnTo>
                    <a:pt x="140792" y="139289"/>
                  </a:lnTo>
                  <a:cubicBezTo>
                    <a:pt x="148466" y="149929"/>
                    <a:pt x="147086" y="164605"/>
                    <a:pt x="137563" y="173627"/>
                  </a:cubicBezTo>
                  <a:lnTo>
                    <a:pt x="129124" y="181628"/>
                  </a:lnTo>
                  <a:cubicBezTo>
                    <a:pt x="120013" y="190256"/>
                    <a:pt x="107043" y="193470"/>
                    <a:pt x="94958" y="190096"/>
                  </a:cubicBezTo>
                  <a:cubicBezTo>
                    <a:pt x="68726" y="182771"/>
                    <a:pt x="45208" y="160635"/>
                    <a:pt x="24139" y="124145"/>
                  </a:cubicBezTo>
                  <a:cubicBezTo>
                    <a:pt x="3041" y="87607"/>
                    <a:pt x="-4360" y="56136"/>
                    <a:pt x="2460" y="29723"/>
                  </a:cubicBezTo>
                  <a:cubicBezTo>
                    <a:pt x="5582" y="17642"/>
                    <a:pt x="14783" y="8066"/>
                    <a:pt x="26730" y="4463"/>
                  </a:cubicBezTo>
                  <a:close/>
                  <a:moveTo>
                    <a:pt x="30854" y="18150"/>
                  </a:moveTo>
                  <a:cubicBezTo>
                    <a:pt x="23688" y="20309"/>
                    <a:pt x="18168" y="26050"/>
                    <a:pt x="16291" y="33295"/>
                  </a:cubicBezTo>
                  <a:cubicBezTo>
                    <a:pt x="10556" y="55507"/>
                    <a:pt x="17119" y="83406"/>
                    <a:pt x="36512" y="117001"/>
                  </a:cubicBezTo>
                  <a:cubicBezTo>
                    <a:pt x="55876" y="150548"/>
                    <a:pt x="76727" y="170169"/>
                    <a:pt x="98806" y="176342"/>
                  </a:cubicBezTo>
                  <a:cubicBezTo>
                    <a:pt x="106054" y="178361"/>
                    <a:pt x="113831" y="176430"/>
                    <a:pt x="119294" y="171255"/>
                  </a:cubicBezTo>
                  <a:lnTo>
                    <a:pt x="127743" y="163254"/>
                  </a:lnTo>
                  <a:cubicBezTo>
                    <a:pt x="132073" y="159153"/>
                    <a:pt x="132700" y="152480"/>
                    <a:pt x="129209" y="147643"/>
                  </a:cubicBezTo>
                  <a:lnTo>
                    <a:pt x="117017" y="130736"/>
                  </a:lnTo>
                  <a:cubicBezTo>
                    <a:pt x="114034" y="126600"/>
                    <a:pt x="108749" y="124823"/>
                    <a:pt x="103873" y="126316"/>
                  </a:cubicBezTo>
                  <a:lnTo>
                    <a:pt x="84680" y="132193"/>
                  </a:lnTo>
                  <a:cubicBezTo>
                    <a:pt x="73536" y="135508"/>
                    <a:pt x="63420" y="126545"/>
                    <a:pt x="52562" y="107733"/>
                  </a:cubicBezTo>
                  <a:cubicBezTo>
                    <a:pt x="45247" y="95065"/>
                    <a:pt x="41837" y="85254"/>
                    <a:pt x="42684" y="77624"/>
                  </a:cubicBezTo>
                  <a:cubicBezTo>
                    <a:pt x="43132" y="73662"/>
                    <a:pt x="44970" y="70004"/>
                    <a:pt x="47885" y="67280"/>
                  </a:cubicBezTo>
                  <a:lnTo>
                    <a:pt x="62115" y="54012"/>
                  </a:lnTo>
                  <a:cubicBezTo>
                    <a:pt x="65846" y="50536"/>
                    <a:pt x="66949" y="45070"/>
                    <a:pt x="64859" y="40420"/>
                  </a:cubicBezTo>
                  <a:lnTo>
                    <a:pt x="56267" y="21313"/>
                  </a:lnTo>
                  <a:cubicBezTo>
                    <a:pt x="53814" y="15863"/>
                    <a:pt x="47702" y="13076"/>
                    <a:pt x="41979" y="14798"/>
                  </a:cubicBezTo>
                  <a:lnTo>
                    <a:pt x="30854" y="18150"/>
                  </a:lnTo>
                  <a:close/>
                </a:path>
              </a:pathLst>
            </a:custGeom>
            <a:gradFill flip="none" rotWithShape="1">
              <a:gsLst>
                <a:gs pos="0">
                  <a:srgbClr val="0078D4"/>
                </a:gs>
                <a:gs pos="100000">
                  <a:srgbClr val="C53FCC"/>
                </a:gs>
              </a:gsLst>
              <a:lin ang="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lIns="704088" tIns="45720" rIns="91440" bIns="45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white"/>
                </a:solidFill>
                <a:effectLst/>
                <a:uLnTx/>
                <a:uFillTx/>
                <a:latin typeface="Segoe UI Semibold"/>
                <a:ea typeface="+mn-ea"/>
                <a:cs typeface="+mn-cs"/>
              </a:endParaRPr>
            </a:p>
          </p:txBody>
        </p:sp>
      </p:grpSp>
      <p:grpSp>
        <p:nvGrpSpPr>
          <p:cNvPr id="70" name="Group 69">
            <a:extLst>
              <a:ext uri="{FF2B5EF4-FFF2-40B4-BE49-F238E27FC236}">
                <a16:creationId xmlns:a16="http://schemas.microsoft.com/office/drawing/2014/main" id="{DDE92803-714A-52FD-E5B5-803A96E5F786}"/>
              </a:ext>
              <a:ext uri="{C183D7F6-B498-43B3-948B-1728B52AA6E4}">
                <adec:decorative xmlns:adec="http://schemas.microsoft.com/office/drawing/2017/decorative" val="1"/>
              </a:ext>
            </a:extLst>
          </p:cNvPr>
          <p:cNvGrpSpPr/>
          <p:nvPr/>
        </p:nvGrpSpPr>
        <p:grpSpPr>
          <a:xfrm>
            <a:off x="756015" y="3185730"/>
            <a:ext cx="549017" cy="549017"/>
            <a:chOff x="756015" y="3185730"/>
            <a:chExt cx="549017" cy="549017"/>
          </a:xfrm>
        </p:grpSpPr>
        <p:sp>
          <p:nvSpPr>
            <p:cNvPr id="17" name="Oval 16">
              <a:extLst>
                <a:ext uri="{FF2B5EF4-FFF2-40B4-BE49-F238E27FC236}">
                  <a16:creationId xmlns:a16="http://schemas.microsoft.com/office/drawing/2014/main" id="{F7ED318C-306E-2B10-1DCA-E97DFA04A01F}"/>
                </a:ext>
              </a:extLst>
            </p:cNvPr>
            <p:cNvSpPr>
              <a:spLocks/>
            </p:cNvSpPr>
            <p:nvPr/>
          </p:nvSpPr>
          <p:spPr bwMode="auto">
            <a:xfrm>
              <a:off x="756015" y="3185730"/>
              <a:ext cx="549017" cy="549017"/>
            </a:xfrm>
            <a:prstGeom prst="ellipse">
              <a:avLst/>
            </a:prstGeom>
            <a:solidFill>
              <a:schemeClr val="bg1"/>
            </a:solidFill>
            <a:ln w="19050">
              <a:gradFill>
                <a:gsLst>
                  <a:gs pos="100000">
                    <a:srgbClr val="C03BC4"/>
                  </a:gs>
                  <a:gs pos="0">
                    <a:srgbClr val="0078D4"/>
                  </a:gs>
                </a:gsLst>
                <a:lin ang="0" scaled="0"/>
              </a:gradFill>
            </a:ln>
            <a:effectLst>
              <a:outerShdw blurRad="177800" dist="25400" algn="tl" rotWithShape="0">
                <a:prstClr val="black">
                  <a:alpha val="5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64" name="Graphic 18" descr="Icon of a book with a star ">
              <a:extLst>
                <a:ext uri="{FF2B5EF4-FFF2-40B4-BE49-F238E27FC236}">
                  <a16:creationId xmlns:a16="http://schemas.microsoft.com/office/drawing/2014/main" id="{E5F23CFF-6987-EF30-8505-4F7D65621D6F}"/>
                </a:ext>
              </a:extLst>
            </p:cNvPr>
            <p:cNvSpPr>
              <a:spLocks noChangeAspect="1"/>
            </p:cNvSpPr>
            <p:nvPr/>
          </p:nvSpPr>
          <p:spPr>
            <a:xfrm>
              <a:off x="907853" y="3311548"/>
              <a:ext cx="245340" cy="297382"/>
            </a:xfrm>
            <a:custGeom>
              <a:avLst/>
              <a:gdLst>
                <a:gd name="connsiteX0" fmla="*/ 103892 w 262048"/>
                <a:gd name="connsiteY0" fmla="*/ 104940 h 317634"/>
                <a:gd name="connsiteX1" fmla="*/ 121368 w 262048"/>
                <a:gd name="connsiteY1" fmla="*/ 69530 h 317634"/>
                <a:gd name="connsiteX2" fmla="*/ 140682 w 262048"/>
                <a:gd name="connsiteY2" fmla="*/ 69530 h 317634"/>
                <a:gd name="connsiteX3" fmla="*/ 158158 w 262048"/>
                <a:gd name="connsiteY3" fmla="*/ 104940 h 317634"/>
                <a:gd name="connsiteX4" fmla="*/ 197235 w 262048"/>
                <a:gd name="connsiteY4" fmla="*/ 110618 h 317634"/>
                <a:gd name="connsiteX5" fmla="*/ 203203 w 262048"/>
                <a:gd name="connsiteY5" fmla="*/ 128986 h 317634"/>
                <a:gd name="connsiteX6" fmla="*/ 174926 w 262048"/>
                <a:gd name="connsiteY6" fmla="*/ 156549 h 317634"/>
                <a:gd name="connsiteX7" fmla="*/ 181603 w 262048"/>
                <a:gd name="connsiteY7" fmla="*/ 195469 h 317634"/>
                <a:gd name="connsiteX8" fmla="*/ 165977 w 262048"/>
                <a:gd name="connsiteY8" fmla="*/ 206821 h 317634"/>
                <a:gd name="connsiteX9" fmla="*/ 131024 w 262048"/>
                <a:gd name="connsiteY9" fmla="*/ 188446 h 317634"/>
                <a:gd name="connsiteX10" fmla="*/ 96073 w 262048"/>
                <a:gd name="connsiteY10" fmla="*/ 206821 h 317634"/>
                <a:gd name="connsiteX11" fmla="*/ 80447 w 262048"/>
                <a:gd name="connsiteY11" fmla="*/ 195469 h 317634"/>
                <a:gd name="connsiteX12" fmla="*/ 87122 w 262048"/>
                <a:gd name="connsiteY12" fmla="*/ 156549 h 317634"/>
                <a:gd name="connsiteX13" fmla="*/ 58846 w 262048"/>
                <a:gd name="connsiteY13" fmla="*/ 128986 h 317634"/>
                <a:gd name="connsiteX14" fmla="*/ 64815 w 262048"/>
                <a:gd name="connsiteY14" fmla="*/ 110618 h 317634"/>
                <a:gd name="connsiteX15" fmla="*/ 103892 w 262048"/>
                <a:gd name="connsiteY15" fmla="*/ 104940 h 317634"/>
                <a:gd name="connsiteX16" fmla="*/ 120701 w 262048"/>
                <a:gd name="connsiteY16" fmla="*/ 119549 h 317634"/>
                <a:gd name="connsiteX17" fmla="*/ 112592 w 262048"/>
                <a:gd name="connsiteY17" fmla="*/ 125440 h 317634"/>
                <a:gd name="connsiteX18" fmla="*/ 89506 w 262048"/>
                <a:gd name="connsiteY18" fmla="*/ 128794 h 317634"/>
                <a:gd name="connsiteX19" fmla="*/ 106211 w 262048"/>
                <a:gd name="connsiteY19" fmla="*/ 145078 h 317634"/>
                <a:gd name="connsiteX20" fmla="*/ 109307 w 262048"/>
                <a:gd name="connsiteY20" fmla="*/ 154610 h 317634"/>
                <a:gd name="connsiteX21" fmla="*/ 105364 w 262048"/>
                <a:gd name="connsiteY21" fmla="*/ 177604 h 317634"/>
                <a:gd name="connsiteX22" fmla="*/ 126013 w 262048"/>
                <a:gd name="connsiteY22" fmla="*/ 166747 h 317634"/>
                <a:gd name="connsiteX23" fmla="*/ 136036 w 262048"/>
                <a:gd name="connsiteY23" fmla="*/ 166747 h 317634"/>
                <a:gd name="connsiteX24" fmla="*/ 156684 w 262048"/>
                <a:gd name="connsiteY24" fmla="*/ 177604 h 317634"/>
                <a:gd name="connsiteX25" fmla="*/ 152741 w 262048"/>
                <a:gd name="connsiteY25" fmla="*/ 154610 h 317634"/>
                <a:gd name="connsiteX26" fmla="*/ 155838 w 262048"/>
                <a:gd name="connsiteY26" fmla="*/ 145078 h 317634"/>
                <a:gd name="connsiteX27" fmla="*/ 172544 w 262048"/>
                <a:gd name="connsiteY27" fmla="*/ 128794 h 317634"/>
                <a:gd name="connsiteX28" fmla="*/ 149458 w 262048"/>
                <a:gd name="connsiteY28" fmla="*/ 125440 h 317634"/>
                <a:gd name="connsiteX29" fmla="*/ 141349 w 262048"/>
                <a:gd name="connsiteY29" fmla="*/ 119549 h 317634"/>
                <a:gd name="connsiteX30" fmla="*/ 131024 w 262048"/>
                <a:gd name="connsiteY30" fmla="*/ 98630 h 317634"/>
                <a:gd name="connsiteX31" fmla="*/ 120701 w 262048"/>
                <a:gd name="connsiteY31" fmla="*/ 119549 h 317634"/>
                <a:gd name="connsiteX32" fmla="*/ 39704 w 262048"/>
                <a:gd name="connsiteY32" fmla="*/ 0 h 317634"/>
                <a:gd name="connsiteX33" fmla="*/ 0 w 262048"/>
                <a:gd name="connsiteY33" fmla="*/ 39704 h 317634"/>
                <a:gd name="connsiteX34" fmla="*/ 0 w 262048"/>
                <a:gd name="connsiteY34" fmla="*/ 277930 h 317634"/>
                <a:gd name="connsiteX35" fmla="*/ 39704 w 262048"/>
                <a:gd name="connsiteY35" fmla="*/ 317634 h 317634"/>
                <a:gd name="connsiteX36" fmla="*/ 250137 w 262048"/>
                <a:gd name="connsiteY36" fmla="*/ 317634 h 317634"/>
                <a:gd name="connsiteX37" fmla="*/ 262048 w 262048"/>
                <a:gd name="connsiteY37" fmla="*/ 305723 h 317634"/>
                <a:gd name="connsiteX38" fmla="*/ 250137 w 262048"/>
                <a:gd name="connsiteY38" fmla="*/ 293812 h 317634"/>
                <a:gd name="connsiteX39" fmla="*/ 39704 w 262048"/>
                <a:gd name="connsiteY39" fmla="*/ 293812 h 317634"/>
                <a:gd name="connsiteX40" fmla="*/ 23823 w 262048"/>
                <a:gd name="connsiteY40" fmla="*/ 277930 h 317634"/>
                <a:gd name="connsiteX41" fmla="*/ 250137 w 262048"/>
                <a:gd name="connsiteY41" fmla="*/ 277930 h 317634"/>
                <a:gd name="connsiteX42" fmla="*/ 262048 w 262048"/>
                <a:gd name="connsiteY42" fmla="*/ 266019 h 317634"/>
                <a:gd name="connsiteX43" fmla="*/ 262048 w 262048"/>
                <a:gd name="connsiteY43" fmla="*/ 39704 h 317634"/>
                <a:gd name="connsiteX44" fmla="*/ 222344 w 262048"/>
                <a:gd name="connsiteY44" fmla="*/ 0 h 317634"/>
                <a:gd name="connsiteX45" fmla="*/ 39704 w 262048"/>
                <a:gd name="connsiteY45" fmla="*/ 0 h 317634"/>
                <a:gd name="connsiteX46" fmla="*/ 238226 w 262048"/>
                <a:gd name="connsiteY46" fmla="*/ 254107 h 317634"/>
                <a:gd name="connsiteX47" fmla="*/ 23823 w 262048"/>
                <a:gd name="connsiteY47" fmla="*/ 254107 h 317634"/>
                <a:gd name="connsiteX48" fmla="*/ 23823 w 262048"/>
                <a:gd name="connsiteY48" fmla="*/ 39704 h 317634"/>
                <a:gd name="connsiteX49" fmla="*/ 39704 w 262048"/>
                <a:gd name="connsiteY49" fmla="*/ 23823 h 317634"/>
                <a:gd name="connsiteX50" fmla="*/ 222344 w 262048"/>
                <a:gd name="connsiteY50" fmla="*/ 23823 h 317634"/>
                <a:gd name="connsiteX51" fmla="*/ 238226 w 262048"/>
                <a:gd name="connsiteY51" fmla="*/ 39704 h 317634"/>
                <a:gd name="connsiteX52" fmla="*/ 238226 w 262048"/>
                <a:gd name="connsiteY52" fmla="*/ 254107 h 3176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262048" h="317634">
                  <a:moveTo>
                    <a:pt x="103892" y="104940"/>
                  </a:moveTo>
                  <a:lnTo>
                    <a:pt x="121368" y="69530"/>
                  </a:lnTo>
                  <a:cubicBezTo>
                    <a:pt x="125318" y="61526"/>
                    <a:pt x="136732" y="61526"/>
                    <a:pt x="140682" y="69530"/>
                  </a:cubicBezTo>
                  <a:lnTo>
                    <a:pt x="158158" y="104940"/>
                  </a:lnTo>
                  <a:lnTo>
                    <a:pt x="197235" y="110618"/>
                  </a:lnTo>
                  <a:cubicBezTo>
                    <a:pt x="206068" y="111902"/>
                    <a:pt x="209594" y="122757"/>
                    <a:pt x="203203" y="128986"/>
                  </a:cubicBezTo>
                  <a:lnTo>
                    <a:pt x="174926" y="156549"/>
                  </a:lnTo>
                  <a:lnTo>
                    <a:pt x="181603" y="195469"/>
                  </a:lnTo>
                  <a:cubicBezTo>
                    <a:pt x="183111" y="204266"/>
                    <a:pt x="173876" y="210976"/>
                    <a:pt x="165977" y="206821"/>
                  </a:cubicBezTo>
                  <a:lnTo>
                    <a:pt x="131024" y="188446"/>
                  </a:lnTo>
                  <a:lnTo>
                    <a:pt x="96073" y="206821"/>
                  </a:lnTo>
                  <a:cubicBezTo>
                    <a:pt x="88172" y="210976"/>
                    <a:pt x="78938" y="204266"/>
                    <a:pt x="80447" y="195469"/>
                  </a:cubicBezTo>
                  <a:lnTo>
                    <a:pt x="87122" y="156549"/>
                  </a:lnTo>
                  <a:lnTo>
                    <a:pt x="58846" y="128986"/>
                  </a:lnTo>
                  <a:cubicBezTo>
                    <a:pt x="52454" y="122757"/>
                    <a:pt x="55981" y="111902"/>
                    <a:pt x="64815" y="110618"/>
                  </a:cubicBezTo>
                  <a:lnTo>
                    <a:pt x="103892" y="104940"/>
                  </a:lnTo>
                  <a:close/>
                  <a:moveTo>
                    <a:pt x="120701" y="119549"/>
                  </a:moveTo>
                  <a:cubicBezTo>
                    <a:pt x="119132" y="122728"/>
                    <a:pt x="116100" y="124931"/>
                    <a:pt x="112592" y="125440"/>
                  </a:cubicBezTo>
                  <a:lnTo>
                    <a:pt x="89506" y="128794"/>
                  </a:lnTo>
                  <a:lnTo>
                    <a:pt x="106211" y="145078"/>
                  </a:lnTo>
                  <a:cubicBezTo>
                    <a:pt x="108748" y="147552"/>
                    <a:pt x="109908" y="151118"/>
                    <a:pt x="109307" y="154610"/>
                  </a:cubicBezTo>
                  <a:lnTo>
                    <a:pt x="105364" y="177604"/>
                  </a:lnTo>
                  <a:lnTo>
                    <a:pt x="126013" y="166747"/>
                  </a:lnTo>
                  <a:cubicBezTo>
                    <a:pt x="129150" y="165098"/>
                    <a:pt x="132898" y="165098"/>
                    <a:pt x="136036" y="166747"/>
                  </a:cubicBezTo>
                  <a:lnTo>
                    <a:pt x="156684" y="177604"/>
                  </a:lnTo>
                  <a:lnTo>
                    <a:pt x="152741" y="154610"/>
                  </a:lnTo>
                  <a:cubicBezTo>
                    <a:pt x="152142" y="151118"/>
                    <a:pt x="153300" y="147552"/>
                    <a:pt x="155838" y="145078"/>
                  </a:cubicBezTo>
                  <a:lnTo>
                    <a:pt x="172544" y="128794"/>
                  </a:lnTo>
                  <a:lnTo>
                    <a:pt x="149458" y="125440"/>
                  </a:lnTo>
                  <a:cubicBezTo>
                    <a:pt x="145950" y="124931"/>
                    <a:pt x="142918" y="122728"/>
                    <a:pt x="141349" y="119549"/>
                  </a:cubicBezTo>
                  <a:lnTo>
                    <a:pt x="131024" y="98630"/>
                  </a:lnTo>
                  <a:lnTo>
                    <a:pt x="120701" y="119549"/>
                  </a:lnTo>
                  <a:close/>
                  <a:moveTo>
                    <a:pt x="39704" y="0"/>
                  </a:moveTo>
                  <a:cubicBezTo>
                    <a:pt x="17776" y="0"/>
                    <a:pt x="0" y="17776"/>
                    <a:pt x="0" y="39704"/>
                  </a:cubicBezTo>
                  <a:lnTo>
                    <a:pt x="0" y="277930"/>
                  </a:lnTo>
                  <a:cubicBezTo>
                    <a:pt x="0" y="299858"/>
                    <a:pt x="17776" y="317634"/>
                    <a:pt x="39704" y="317634"/>
                  </a:cubicBezTo>
                  <a:lnTo>
                    <a:pt x="250137" y="317634"/>
                  </a:lnTo>
                  <a:cubicBezTo>
                    <a:pt x="256715" y="317634"/>
                    <a:pt x="262048" y="312301"/>
                    <a:pt x="262048" y="305723"/>
                  </a:cubicBezTo>
                  <a:cubicBezTo>
                    <a:pt x="262048" y="299145"/>
                    <a:pt x="256715" y="293812"/>
                    <a:pt x="250137" y="293812"/>
                  </a:cubicBezTo>
                  <a:lnTo>
                    <a:pt x="39704" y="293812"/>
                  </a:lnTo>
                  <a:cubicBezTo>
                    <a:pt x="30933" y="293812"/>
                    <a:pt x="23823" y="286701"/>
                    <a:pt x="23823" y="277930"/>
                  </a:cubicBezTo>
                  <a:lnTo>
                    <a:pt x="250137" y="277930"/>
                  </a:lnTo>
                  <a:cubicBezTo>
                    <a:pt x="256715" y="277930"/>
                    <a:pt x="262048" y="272597"/>
                    <a:pt x="262048" y="266019"/>
                  </a:cubicBezTo>
                  <a:lnTo>
                    <a:pt x="262048" y="39704"/>
                  </a:lnTo>
                  <a:cubicBezTo>
                    <a:pt x="262048" y="17776"/>
                    <a:pt x="244272" y="0"/>
                    <a:pt x="222344" y="0"/>
                  </a:cubicBezTo>
                  <a:lnTo>
                    <a:pt x="39704" y="0"/>
                  </a:lnTo>
                  <a:close/>
                  <a:moveTo>
                    <a:pt x="238226" y="254107"/>
                  </a:moveTo>
                  <a:lnTo>
                    <a:pt x="23823" y="254107"/>
                  </a:lnTo>
                  <a:lnTo>
                    <a:pt x="23823" y="39704"/>
                  </a:lnTo>
                  <a:cubicBezTo>
                    <a:pt x="23823" y="30933"/>
                    <a:pt x="30933" y="23823"/>
                    <a:pt x="39704" y="23823"/>
                  </a:cubicBezTo>
                  <a:lnTo>
                    <a:pt x="222344" y="23823"/>
                  </a:lnTo>
                  <a:cubicBezTo>
                    <a:pt x="231115" y="23823"/>
                    <a:pt x="238226" y="30933"/>
                    <a:pt x="238226" y="39704"/>
                  </a:cubicBezTo>
                  <a:lnTo>
                    <a:pt x="238226" y="254107"/>
                  </a:lnTo>
                  <a:close/>
                </a:path>
              </a:pathLst>
            </a:custGeom>
            <a:gradFill flip="none" rotWithShape="1">
              <a:gsLst>
                <a:gs pos="0">
                  <a:srgbClr val="0078D4"/>
                </a:gs>
                <a:gs pos="100000">
                  <a:srgbClr val="C53FCC"/>
                </a:gs>
              </a:gsLst>
              <a:lin ang="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lIns="704088" tIns="45720" rIns="91440" bIns="45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white"/>
                </a:solidFill>
                <a:effectLst/>
                <a:uLnTx/>
                <a:uFillTx/>
                <a:latin typeface="Segoe UI Semibold"/>
                <a:ea typeface="+mn-ea"/>
                <a:cs typeface="+mn-cs"/>
              </a:endParaRPr>
            </a:p>
          </p:txBody>
        </p:sp>
      </p:grpSp>
      <p:sp>
        <p:nvSpPr>
          <p:cNvPr id="3" name="Title 2">
            <a:extLst>
              <a:ext uri="{FF2B5EF4-FFF2-40B4-BE49-F238E27FC236}">
                <a16:creationId xmlns:a16="http://schemas.microsoft.com/office/drawing/2014/main" id="{5D1C98F0-C53A-7B11-E031-B8A16122B252}"/>
              </a:ext>
            </a:extLst>
          </p:cNvPr>
          <p:cNvSpPr>
            <a:spLocks noGrp="1"/>
          </p:cNvSpPr>
          <p:nvPr>
            <p:ph type="title"/>
          </p:nvPr>
        </p:nvSpPr>
        <p:spPr>
          <a:xfrm>
            <a:off x="511175" y="574675"/>
            <a:ext cx="11185525" cy="498475"/>
          </a:xfrm>
        </p:spPr>
        <p:txBody>
          <a:bodyPr/>
          <a:lstStyle/>
          <a:p>
            <a:r>
              <a:rPr lang="en-US" dirty="0"/>
              <a:t>Agent Hackathon objectives </a:t>
            </a:r>
          </a:p>
        </p:txBody>
      </p:sp>
      <p:sp>
        <p:nvSpPr>
          <p:cNvPr id="15" name="TextBox 7, chunk 1, chunk 1">
            <a:extLst>
              <a:ext uri="{FF2B5EF4-FFF2-40B4-BE49-F238E27FC236}">
                <a16:creationId xmlns:a16="http://schemas.microsoft.com/office/drawing/2014/main" id="{6D67D9D0-A69A-D0F0-82E6-AE2884BBFF51}"/>
              </a:ext>
            </a:extLst>
          </p:cNvPr>
          <p:cNvSpPr txBox="1"/>
          <p:nvPr/>
        </p:nvSpPr>
        <p:spPr>
          <a:xfrm>
            <a:off x="1522748" y="1673775"/>
            <a:ext cx="5817852" cy="830997"/>
          </a:xfrm>
          <a:prstGeom prst="rect">
            <a:avLst/>
          </a:prstGeom>
          <a:noFill/>
        </p:spPr>
        <p:txBody>
          <a:bodyPr wrap="square" lIns="0" tIns="0" rIns="0" bIns="0" numCol="1" rtlCol="0" anchor="ctr">
            <a:spAutoFit/>
          </a:bodyPr>
          <a:lstStyle>
            <a:defPPr>
              <a:defRPr lang="en-US"/>
            </a:defPPr>
            <a:lvl1pPr marR="0" lvl="0" indent="0" fontAlgn="auto">
              <a:lnSpc>
                <a:spcPct val="100000"/>
              </a:lnSpc>
              <a:spcBef>
                <a:spcPts val="0"/>
              </a:spcBef>
              <a:spcAft>
                <a:spcPts val="0"/>
              </a:spcAft>
              <a:buClrTx/>
              <a:buSzTx/>
              <a:buFontTx/>
              <a:buNone/>
              <a:tabLst/>
              <a:defRPr kumimoji="0" sz="2000" b="0" i="0" u="none" strike="noStrike" kern="0" cap="none" spc="0" normalizeH="0" baseline="0">
                <a:ln>
                  <a:noFill/>
                </a:ln>
                <a:solidFill>
                  <a:prstClr val="black"/>
                </a:solidFill>
                <a:effectLst/>
                <a:uLnTx/>
                <a:uFillTx/>
                <a:latin typeface="Segoe UI"/>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effectLst/>
                <a:uLnTx/>
                <a:uFillTx/>
                <a:latin typeface="Segoe UI"/>
                <a:ea typeface="+mn-ea"/>
                <a:cs typeface="+mn-cs"/>
              </a:rPr>
              <a:t>Showcase the possibilities for realizing business value and highlight opportunities for </a:t>
            </a:r>
            <a:r>
              <a:rPr kumimoji="0" lang="en-US" sz="1800" b="0" i="0" u="none" strike="noStrike" kern="0" cap="none" spc="0" normalizeH="0" baseline="0" noProof="0" dirty="0">
                <a:ln>
                  <a:noFill/>
                </a:ln>
                <a:solidFill>
                  <a:srgbClr val="0078D4"/>
                </a:solidFill>
                <a:effectLst/>
                <a:uLnTx/>
                <a:uFillTx/>
                <a:latin typeface="Segoe UI Semibold"/>
                <a:ea typeface="+mn-ea"/>
                <a:cs typeface="+mn-cs"/>
              </a:rPr>
              <a:t>transformative experiences with agents</a:t>
            </a:r>
            <a:r>
              <a:rPr lang="en-US" sz="1800" dirty="0">
                <a:solidFill>
                  <a:srgbClr val="0078D4"/>
                </a:solidFill>
                <a:latin typeface="Segoe UI Semibold"/>
              </a:rPr>
              <a:t>.</a:t>
            </a:r>
            <a:endParaRPr kumimoji="0" lang="en-US" sz="1800" b="0" i="0" u="none" strike="noStrike" kern="0" cap="none" spc="0" normalizeH="0" baseline="0" noProof="0" dirty="0">
              <a:ln>
                <a:noFill/>
              </a:ln>
              <a:solidFill>
                <a:srgbClr val="0078D4"/>
              </a:solidFill>
              <a:effectLst/>
              <a:uLnTx/>
              <a:uFillTx/>
              <a:latin typeface="Segoe UI Semibold"/>
              <a:ea typeface="+mn-ea"/>
              <a:cs typeface="+mn-cs"/>
            </a:endParaRPr>
          </a:p>
        </p:txBody>
      </p:sp>
      <p:sp>
        <p:nvSpPr>
          <p:cNvPr id="18" name="TextBox 7, chunk 1, chunk 1">
            <a:extLst>
              <a:ext uri="{FF2B5EF4-FFF2-40B4-BE49-F238E27FC236}">
                <a16:creationId xmlns:a16="http://schemas.microsoft.com/office/drawing/2014/main" id="{B21729E6-FFCE-452B-076F-50D3E78ABF33}"/>
              </a:ext>
            </a:extLst>
          </p:cNvPr>
          <p:cNvSpPr txBox="1"/>
          <p:nvPr/>
        </p:nvSpPr>
        <p:spPr>
          <a:xfrm>
            <a:off x="1522748" y="3185730"/>
            <a:ext cx="5817852" cy="1107996"/>
          </a:xfrm>
          <a:prstGeom prst="rect">
            <a:avLst/>
          </a:prstGeom>
          <a:noFill/>
        </p:spPr>
        <p:txBody>
          <a:bodyPr wrap="square" lIns="0" tIns="0" rIns="0" bIns="0" numCol="1" rtlCol="0" anchor="ctr">
            <a:spAutoFit/>
          </a:bodyPr>
          <a:lstStyle>
            <a:defPPr>
              <a:defRPr lang="en-US"/>
            </a:defPPr>
            <a:lvl1pPr marR="0" lvl="0" indent="0" fontAlgn="auto">
              <a:lnSpc>
                <a:spcPct val="100000"/>
              </a:lnSpc>
              <a:spcBef>
                <a:spcPts val="0"/>
              </a:spcBef>
              <a:spcAft>
                <a:spcPts val="0"/>
              </a:spcAft>
              <a:buClrTx/>
              <a:buSzTx/>
              <a:buFontTx/>
              <a:buNone/>
              <a:tabLst/>
              <a:defRPr kumimoji="0" sz="2000" b="0" i="0" u="none" strike="noStrike" kern="0" cap="none" spc="0" normalizeH="0" baseline="0">
                <a:ln>
                  <a:noFill/>
                </a:ln>
                <a:solidFill>
                  <a:prstClr val="black"/>
                </a:solidFill>
                <a:effectLst/>
                <a:uLnTx/>
                <a:uFillTx/>
                <a:latin typeface="Segoe UI"/>
              </a:defRPr>
            </a:lvl1pPr>
          </a:lstStyle>
          <a:p>
            <a:pPr>
              <a:defRPr/>
            </a:pPr>
            <a:r>
              <a:rPr kumimoji="0" lang="en-US" sz="1800" b="0" i="0" u="none" strike="noStrike" kern="0" cap="none" spc="0" normalizeH="0" baseline="0" noProof="0" dirty="0">
                <a:ln>
                  <a:noFill/>
                </a:ln>
                <a:effectLst/>
                <a:uLnTx/>
                <a:uFillTx/>
                <a:latin typeface="Segoe UI"/>
                <a:ea typeface="+mn-ea"/>
                <a:cs typeface="+mn-cs"/>
              </a:rPr>
              <a:t>Drive an understanding of the powerful </a:t>
            </a:r>
            <a:r>
              <a:rPr kumimoji="0" lang="en-US" sz="1800" b="0" i="0" u="none" strike="noStrike" kern="0" cap="none" spc="0" normalizeH="0" baseline="0" noProof="0" dirty="0">
                <a:ln>
                  <a:noFill/>
                </a:ln>
                <a:solidFill>
                  <a:srgbClr val="0078D4"/>
                </a:solidFill>
                <a:effectLst/>
                <a:uLnTx/>
                <a:uFillTx/>
                <a:latin typeface="Segoe UI Semibold"/>
                <a:ea typeface="+mn-ea"/>
                <a:cs typeface="+mn-cs"/>
              </a:rPr>
              <a:t>capabilities of </a:t>
            </a:r>
            <a:r>
              <a:rPr lang="en-US" sz="1800" dirty="0">
                <a:solidFill>
                  <a:srgbClr val="0078D4"/>
                </a:solidFill>
                <a:latin typeface="Segoe UI Semibold"/>
              </a:rPr>
              <a:t>Agent Builder </a:t>
            </a:r>
            <a:r>
              <a:rPr kumimoji="0" lang="en-US" sz="1800" b="0" i="0" u="none" strike="noStrike" kern="0" cap="none" spc="0" normalizeH="0" baseline="0" noProof="0" dirty="0">
                <a:ln>
                  <a:noFill/>
                </a:ln>
                <a:solidFill>
                  <a:srgbClr val="0078D4"/>
                </a:solidFill>
                <a:effectLst/>
                <a:uLnTx/>
                <a:uFillTx/>
                <a:latin typeface="Segoe UI Semibold"/>
                <a:ea typeface="+mn-ea"/>
                <a:cs typeface="+mn-cs"/>
              </a:rPr>
              <a:t>experience</a:t>
            </a:r>
            <a:r>
              <a:rPr kumimoji="0" lang="en-US" sz="1800" b="0" i="0" u="none" strike="noStrike" kern="0" cap="none" spc="0" normalizeH="0" baseline="0" noProof="0" dirty="0">
                <a:ln>
                  <a:noFill/>
                </a:ln>
                <a:effectLst/>
                <a:uLnTx/>
                <a:uFillTx/>
                <a:latin typeface="Segoe UI"/>
                <a:ea typeface="+mn-ea"/>
                <a:cs typeface="+mn-cs"/>
              </a:rPr>
              <a:t>, influencing the organization’s intent to utilize Copilot Studio capabilities and drive agent adoption</a:t>
            </a:r>
          </a:p>
        </p:txBody>
      </p:sp>
      <p:sp>
        <p:nvSpPr>
          <p:cNvPr id="24" name="TextBox 7, chunk 1, chunk 1">
            <a:extLst>
              <a:ext uri="{FF2B5EF4-FFF2-40B4-BE49-F238E27FC236}">
                <a16:creationId xmlns:a16="http://schemas.microsoft.com/office/drawing/2014/main" id="{706DCD4A-66B5-6C8A-E3A2-768BCCE5230E}"/>
              </a:ext>
            </a:extLst>
          </p:cNvPr>
          <p:cNvSpPr txBox="1"/>
          <p:nvPr/>
        </p:nvSpPr>
        <p:spPr>
          <a:xfrm>
            <a:off x="1522748" y="4930303"/>
            <a:ext cx="5817852" cy="830997"/>
          </a:xfrm>
          <a:prstGeom prst="rect">
            <a:avLst/>
          </a:prstGeom>
          <a:noFill/>
        </p:spPr>
        <p:txBody>
          <a:bodyPr wrap="square" lIns="0" tIns="0" rIns="0" bIns="0" numCol="1" rtlCol="0" anchor="ctr">
            <a:spAutoFit/>
          </a:bodyPr>
          <a:lstStyle>
            <a:defPPr>
              <a:defRPr lang="en-US"/>
            </a:defPPr>
            <a:lvl1pPr marR="0" lvl="0" indent="0" fontAlgn="auto">
              <a:lnSpc>
                <a:spcPct val="100000"/>
              </a:lnSpc>
              <a:spcBef>
                <a:spcPts val="0"/>
              </a:spcBef>
              <a:spcAft>
                <a:spcPts val="0"/>
              </a:spcAft>
              <a:buClrTx/>
              <a:buSzTx/>
              <a:buFontTx/>
              <a:buNone/>
              <a:tabLst/>
              <a:defRPr kumimoji="0" sz="2000" b="0" i="0" u="none" strike="noStrike" kern="0" cap="none" spc="0" normalizeH="0" baseline="0">
                <a:ln>
                  <a:noFill/>
                </a:ln>
                <a:solidFill>
                  <a:prstClr val="black"/>
                </a:solidFill>
                <a:effectLst/>
                <a:uLnTx/>
                <a:uFillTx/>
                <a:latin typeface="Segoe UI"/>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effectLst/>
                <a:uLnTx/>
                <a:uFillTx/>
                <a:latin typeface="Segoe UI"/>
                <a:ea typeface="+mn-ea"/>
                <a:cs typeface="+mn-cs"/>
              </a:rPr>
              <a:t>As an outcome of this event, participants leave with </a:t>
            </a:r>
            <a:r>
              <a:rPr kumimoji="0" lang="en-US" sz="1800" b="0" i="0" u="none" strike="noStrike" kern="0" cap="none" spc="0" normalizeH="0" baseline="0" noProof="0" dirty="0">
                <a:ln>
                  <a:noFill/>
                </a:ln>
                <a:solidFill>
                  <a:srgbClr val="0078D4"/>
                </a:solidFill>
                <a:effectLst/>
                <a:uLnTx/>
                <a:uFillTx/>
                <a:latin typeface="Segoe UI Semibold"/>
                <a:ea typeface="+mn-ea"/>
                <a:cs typeface="+mn-cs"/>
              </a:rPr>
              <a:t>actionable use cases </a:t>
            </a:r>
            <a:r>
              <a:rPr kumimoji="0" lang="en-US" sz="1800" b="0" i="0" u="none" strike="noStrike" kern="0" cap="none" spc="0" normalizeH="0" baseline="0" noProof="0" dirty="0">
                <a:ln>
                  <a:noFill/>
                </a:ln>
                <a:effectLst/>
                <a:uLnTx/>
                <a:uFillTx/>
                <a:latin typeface="Segoe UI"/>
                <a:ea typeface="+mn-ea"/>
                <a:cs typeface="+mn-cs"/>
              </a:rPr>
              <a:t>and the ability to articulate and advocate for agent adoption. </a:t>
            </a:r>
            <a:endParaRPr lang="en-US" sz="1800" b="0" i="0" u="none" strike="noStrike" kern="0" cap="none" spc="0" normalizeH="0" baseline="0" noProof="0" dirty="0">
              <a:ln>
                <a:noFill/>
              </a:ln>
              <a:effectLst/>
              <a:uLnTx/>
              <a:uFillTx/>
              <a:latin typeface="Segoe UI"/>
              <a:cs typeface="Segoe UI"/>
            </a:endParaRPr>
          </a:p>
        </p:txBody>
      </p:sp>
      <p:pic>
        <p:nvPicPr>
          <p:cNvPr id="4" name="Picture 3">
            <a:extLst>
              <a:ext uri="{FF2B5EF4-FFF2-40B4-BE49-F238E27FC236}">
                <a16:creationId xmlns:a16="http://schemas.microsoft.com/office/drawing/2014/main" id="{DA63EB20-78F6-7C5B-67AF-9B1997247A6A}"/>
              </a:ext>
              <a:ext uri="{C183D7F6-B498-43B3-948B-1728B52AA6E4}">
                <adec:decorative xmlns:adec="http://schemas.microsoft.com/office/drawing/2017/decorative" val="1"/>
              </a:ext>
            </a:extLst>
          </p:cNvPr>
          <p:cNvPicPr>
            <a:picLocks noChangeAspect="1"/>
          </p:cNvPicPr>
          <p:nvPr/>
        </p:nvPicPr>
        <p:blipFill rotWithShape="1">
          <a:blip r:embed="rId5">
            <a:extLst>
              <a:ext uri="{28A0092B-C50C-407E-A947-70E740481C1C}">
                <a14:useLocalDpi xmlns:a14="http://schemas.microsoft.com/office/drawing/2010/main" val="0"/>
              </a:ext>
            </a:extLst>
          </a:blip>
          <a:srcRect t="23069" b="23069"/>
          <a:stretch>
            <a:fillRect/>
          </a:stretch>
        </p:blipFill>
        <p:spPr>
          <a:xfrm>
            <a:off x="7897951" y="4934790"/>
            <a:ext cx="3546198" cy="1074420"/>
          </a:xfrm>
          <a:prstGeom prst="roundRect">
            <a:avLst>
              <a:gd name="adj" fmla="val 13121"/>
            </a:avLst>
          </a:prstGeom>
          <a:ln>
            <a:noFill/>
          </a:ln>
        </p:spPr>
      </p:pic>
      <p:sp>
        <p:nvSpPr>
          <p:cNvPr id="7" name="TextBox 6">
            <a:extLst>
              <a:ext uri="{FF2B5EF4-FFF2-40B4-BE49-F238E27FC236}">
                <a16:creationId xmlns:a16="http://schemas.microsoft.com/office/drawing/2014/main" id="{E2FA6037-1035-E9EE-46CE-3945D9BC9FAE}"/>
              </a:ext>
            </a:extLst>
          </p:cNvPr>
          <p:cNvSpPr txBox="1"/>
          <p:nvPr/>
        </p:nvSpPr>
        <p:spPr>
          <a:xfrm>
            <a:off x="7897951" y="2896124"/>
            <a:ext cx="3546198" cy="365760"/>
          </a:xfrm>
          <a:prstGeom prst="roundRect">
            <a:avLst>
              <a:gd name="adj" fmla="val 50000"/>
            </a:avLst>
          </a:prstGeom>
          <a:gradFill flip="none" rotWithShape="1">
            <a:gsLst>
              <a:gs pos="0">
                <a:srgbClr val="0078D4"/>
              </a:gs>
              <a:gs pos="100000">
                <a:srgbClr val="C53FCC"/>
              </a:gs>
            </a:gsLst>
            <a:lin ang="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defPPr>
              <a:defRPr lang="en-US"/>
            </a:defPPr>
            <a:lvl1pPr marR="0" lvl="0" indent="0" fontAlgn="auto">
              <a:lnSpc>
                <a:spcPct val="100000"/>
              </a:lnSpc>
              <a:spcBef>
                <a:spcPts val="0"/>
              </a:spcBef>
              <a:spcAft>
                <a:spcPts val="0"/>
              </a:spcAft>
              <a:buClrTx/>
              <a:buSzTx/>
              <a:buFontTx/>
              <a:buNone/>
              <a:tabLst/>
              <a:defRPr kumimoji="0" sz="2000" b="0" i="0" u="none" strike="noStrike" cap="none" spc="0" normalizeH="0" baseline="0">
                <a:ln>
                  <a:noFill/>
                </a:ln>
                <a:solidFill>
                  <a:schemeClr val="bg1"/>
                </a:solidFill>
                <a:effectLst/>
                <a:uLnTx/>
                <a:uFillTx/>
                <a:latin typeface="+mj-lt"/>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Segoe UI Semibold"/>
                <a:ea typeface="+mn-ea"/>
                <a:cs typeface="+mn-cs"/>
              </a:rPr>
              <a:t>Tools</a:t>
            </a:r>
          </a:p>
        </p:txBody>
      </p:sp>
      <p:sp>
        <p:nvSpPr>
          <p:cNvPr id="8" name="TextBox 7, chunk 1, chunk 1">
            <a:extLst>
              <a:ext uri="{FF2B5EF4-FFF2-40B4-BE49-F238E27FC236}">
                <a16:creationId xmlns:a16="http://schemas.microsoft.com/office/drawing/2014/main" id="{A2621E74-DDD6-34F2-73E0-D19F8C28DF30}"/>
              </a:ext>
            </a:extLst>
          </p:cNvPr>
          <p:cNvSpPr txBox="1"/>
          <p:nvPr/>
        </p:nvSpPr>
        <p:spPr>
          <a:xfrm>
            <a:off x="8104187" y="3474878"/>
            <a:ext cx="3133726" cy="1215717"/>
          </a:xfrm>
          <a:prstGeom prst="rect">
            <a:avLst/>
          </a:prstGeom>
          <a:noFill/>
        </p:spPr>
        <p:txBody>
          <a:bodyPr wrap="square" lIns="0" tIns="0" rIns="0" bIns="0" numCol="1" rtlCol="0" anchor="t">
            <a:spAutoFit/>
          </a:bodyPr>
          <a:lstStyle>
            <a:defPPr>
              <a:defRPr lang="en-US"/>
            </a:defPPr>
            <a:lvl1pPr marR="0" lvl="0" indent="0" fontAlgn="auto">
              <a:lnSpc>
                <a:spcPct val="100000"/>
              </a:lnSpc>
              <a:spcBef>
                <a:spcPts val="0"/>
              </a:spcBef>
              <a:spcAft>
                <a:spcPts val="0"/>
              </a:spcAft>
              <a:buClrTx/>
              <a:buSzTx/>
              <a:buFontTx/>
              <a:buNone/>
              <a:tabLst/>
              <a:defRPr kumimoji="0" sz="2000" b="0" i="0" u="none" strike="noStrike" kern="0" cap="none" spc="0" normalizeH="0" baseline="0">
                <a:ln>
                  <a:noFill/>
                </a:ln>
                <a:solidFill>
                  <a:prstClr val="black"/>
                </a:solidFill>
                <a:effectLst/>
                <a:uLnTx/>
                <a:uFillTx/>
                <a:latin typeface="Segoe UI"/>
              </a:defRPr>
            </a:lvl1pPr>
          </a:lstStyle>
          <a:p>
            <a:pPr marL="180975" marR="0" lvl="0" indent="-180975"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600" b="0" i="0" u="none" strike="noStrike" kern="0" cap="none" spc="0" normalizeH="0" baseline="0" noProof="0" dirty="0">
                <a:ln>
                  <a:noFill/>
                </a:ln>
                <a:solidFill>
                  <a:prstClr val="black"/>
                </a:solidFill>
                <a:effectLst/>
                <a:uLnTx/>
                <a:uFillTx/>
                <a:latin typeface="Segoe UI"/>
                <a:ea typeface="+mn-ea"/>
                <a:cs typeface="+mn-cs"/>
              </a:rPr>
              <a:t>Microsoft 365 Copilot</a:t>
            </a:r>
          </a:p>
          <a:p>
            <a:pPr marL="180975" marR="0" lvl="0" indent="-180975"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600" b="0" i="0" u="none" strike="noStrike" kern="0" cap="none" spc="0" normalizeH="0" baseline="0" noProof="0" dirty="0">
                <a:ln>
                  <a:noFill/>
                </a:ln>
                <a:solidFill>
                  <a:prstClr val="black"/>
                </a:solidFill>
                <a:effectLst/>
                <a:uLnTx/>
                <a:uFillTx/>
                <a:latin typeface="Segoe UI"/>
                <a:ea typeface="+mn-ea"/>
                <a:cs typeface="+mn-cs"/>
              </a:rPr>
              <a:t>Researcher agent</a:t>
            </a:r>
          </a:p>
          <a:p>
            <a:pPr marL="180975" indent="-180975">
              <a:spcAft>
                <a:spcPts val="600"/>
              </a:spcAft>
              <a:buFont typeface="Arial" panose="020B0604020202020204" pitchFamily="34" charset="0"/>
              <a:buChar char="•"/>
              <a:defRPr/>
            </a:pPr>
            <a:r>
              <a:rPr lang="en-US" sz="1600" dirty="0">
                <a:solidFill>
                  <a:schemeClr val="tx1"/>
                </a:solidFill>
              </a:rPr>
              <a:t>Agent Builder exp</a:t>
            </a:r>
            <a:r>
              <a:rPr lang="en-US" sz="1600" dirty="0">
                <a:solidFill>
                  <a:srgbClr val="000000"/>
                </a:solidFill>
              </a:rPr>
              <a:t>erience</a:t>
            </a:r>
            <a:endParaRPr lang="en-US" sz="1600" b="0" i="0" u="none" strike="noStrike" kern="0" cap="none" spc="0" normalizeH="0" baseline="0" noProof="0" dirty="0">
              <a:ln>
                <a:noFill/>
              </a:ln>
              <a:effectLst/>
              <a:uLnTx/>
              <a:uFillTx/>
              <a:latin typeface="Segoe UI"/>
              <a:cs typeface="Segoe UI"/>
            </a:endParaRPr>
          </a:p>
          <a:p>
            <a:pPr marL="180975" marR="0" lvl="0" indent="-180975"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600" b="0" i="0" u="none" strike="noStrike" kern="0" cap="none" spc="0" normalizeH="0" baseline="0" noProof="0" dirty="0">
                <a:ln>
                  <a:noFill/>
                </a:ln>
                <a:solidFill>
                  <a:prstClr val="black"/>
                </a:solidFill>
                <a:effectLst/>
                <a:uLnTx/>
                <a:uFillTx/>
                <a:latin typeface="Segoe UI"/>
                <a:ea typeface="+mn-ea"/>
                <a:cs typeface="+mn-cs"/>
              </a:rPr>
              <a:t>Create in Copilot</a:t>
            </a:r>
          </a:p>
        </p:txBody>
      </p:sp>
      <p:grpSp>
        <p:nvGrpSpPr>
          <p:cNvPr id="12" name="Group 11">
            <a:extLst>
              <a:ext uri="{FF2B5EF4-FFF2-40B4-BE49-F238E27FC236}">
                <a16:creationId xmlns:a16="http://schemas.microsoft.com/office/drawing/2014/main" id="{875162E9-8784-E8D6-45AB-E76CD585C5BB}"/>
              </a:ext>
              <a:ext uri="{C183D7F6-B498-43B3-948B-1728B52AA6E4}">
                <adec:decorative xmlns:adec="http://schemas.microsoft.com/office/drawing/2017/decorative" val="1"/>
              </a:ext>
            </a:extLst>
          </p:cNvPr>
          <p:cNvGrpSpPr/>
          <p:nvPr/>
        </p:nvGrpSpPr>
        <p:grpSpPr>
          <a:xfrm>
            <a:off x="11111380" y="2941983"/>
            <a:ext cx="291166" cy="291166"/>
            <a:chOff x="11111380" y="3233084"/>
            <a:chExt cx="291166" cy="291166"/>
          </a:xfrm>
        </p:grpSpPr>
        <p:sp>
          <p:nvSpPr>
            <p:cNvPr id="19" name="Oval 18">
              <a:extLst>
                <a:ext uri="{FF2B5EF4-FFF2-40B4-BE49-F238E27FC236}">
                  <a16:creationId xmlns:a16="http://schemas.microsoft.com/office/drawing/2014/main" id="{52C076A2-5C39-B301-A9F3-206A52A2DC12}"/>
                </a:ext>
              </a:extLst>
            </p:cNvPr>
            <p:cNvSpPr/>
            <p:nvPr/>
          </p:nvSpPr>
          <p:spPr>
            <a:xfrm>
              <a:off x="11111380" y="3233084"/>
              <a:ext cx="291166" cy="291166"/>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0" name="Graphic 2" descr="Icon of a gear">
              <a:extLst>
                <a:ext uri="{FF2B5EF4-FFF2-40B4-BE49-F238E27FC236}">
                  <a16:creationId xmlns:a16="http://schemas.microsoft.com/office/drawing/2014/main" id="{B3184C79-2FAF-1DD9-8ACD-261B98E42545}"/>
                </a:ext>
              </a:extLst>
            </p:cNvPr>
            <p:cNvSpPr/>
            <p:nvPr/>
          </p:nvSpPr>
          <p:spPr>
            <a:xfrm>
              <a:off x="11148352" y="3270056"/>
              <a:ext cx="217222" cy="217222"/>
            </a:xfrm>
            <a:custGeom>
              <a:avLst/>
              <a:gdLst>
                <a:gd name="connsiteX0" fmla="*/ 89274 w 178348"/>
                <a:gd name="connsiteY0" fmla="*/ 0 h 185732"/>
                <a:gd name="connsiteX1" fmla="*/ 110058 w 178348"/>
                <a:gd name="connsiteY1" fmla="*/ 2410 h 185732"/>
                <a:gd name="connsiteX2" fmla="*/ 115601 w 178348"/>
                <a:gd name="connsiteY2" fmla="*/ 8592 h 185732"/>
                <a:gd name="connsiteX3" fmla="*/ 117220 w 178348"/>
                <a:gd name="connsiteY3" fmla="*/ 23136 h 185732"/>
                <a:gd name="connsiteX4" fmla="*/ 131782 w 178348"/>
                <a:gd name="connsiteY4" fmla="*/ 34777 h 185732"/>
                <a:gd name="connsiteX5" fmla="*/ 135575 w 178348"/>
                <a:gd name="connsiteY5" fmla="*/ 33766 h 185732"/>
                <a:gd name="connsiteX6" fmla="*/ 148920 w 178348"/>
                <a:gd name="connsiteY6" fmla="*/ 27908 h 185732"/>
                <a:gd name="connsiteX7" fmla="*/ 157016 w 178348"/>
                <a:gd name="connsiteY7" fmla="*/ 29566 h 185732"/>
                <a:gd name="connsiteX8" fmla="*/ 178009 w 178348"/>
                <a:gd name="connsiteY8" fmla="*/ 65684 h 185732"/>
                <a:gd name="connsiteX9" fmla="*/ 175428 w 178348"/>
                <a:gd name="connsiteY9" fmla="*/ 73543 h 185732"/>
                <a:gd name="connsiteX10" fmla="*/ 163598 w 178348"/>
                <a:gd name="connsiteY10" fmla="*/ 82267 h 185732"/>
                <a:gd name="connsiteX11" fmla="*/ 160784 w 178348"/>
                <a:gd name="connsiteY11" fmla="*/ 100656 h 185732"/>
                <a:gd name="connsiteX12" fmla="*/ 163598 w 178348"/>
                <a:gd name="connsiteY12" fmla="*/ 103470 h 185732"/>
                <a:gd name="connsiteX13" fmla="*/ 175437 w 178348"/>
                <a:gd name="connsiteY13" fmla="*/ 112185 h 185732"/>
                <a:gd name="connsiteX14" fmla="*/ 178028 w 178348"/>
                <a:gd name="connsiteY14" fmla="*/ 120053 h 185732"/>
                <a:gd name="connsiteX15" fmla="*/ 157035 w 178348"/>
                <a:gd name="connsiteY15" fmla="*/ 156172 h 185732"/>
                <a:gd name="connsiteX16" fmla="*/ 148958 w 178348"/>
                <a:gd name="connsiteY16" fmla="*/ 157839 h 185732"/>
                <a:gd name="connsiteX17" fmla="*/ 135556 w 178348"/>
                <a:gd name="connsiteY17" fmla="*/ 151962 h 185732"/>
                <a:gd name="connsiteX18" fmla="*/ 118240 w 178348"/>
                <a:gd name="connsiteY18" fmla="*/ 158722 h 185732"/>
                <a:gd name="connsiteX19" fmla="*/ 117211 w 178348"/>
                <a:gd name="connsiteY19" fmla="*/ 162573 h 185732"/>
                <a:gd name="connsiteX20" fmla="*/ 115601 w 178348"/>
                <a:gd name="connsiteY20" fmla="*/ 177108 h 185732"/>
                <a:gd name="connsiteX21" fmla="*/ 110153 w 178348"/>
                <a:gd name="connsiteY21" fmla="*/ 183271 h 185732"/>
                <a:gd name="connsiteX22" fmla="*/ 68186 w 178348"/>
                <a:gd name="connsiteY22" fmla="*/ 183271 h 185732"/>
                <a:gd name="connsiteX23" fmla="*/ 62737 w 178348"/>
                <a:gd name="connsiteY23" fmla="*/ 177108 h 185732"/>
                <a:gd name="connsiteX24" fmla="*/ 61137 w 178348"/>
                <a:gd name="connsiteY24" fmla="*/ 162592 h 185732"/>
                <a:gd name="connsiteX25" fmla="*/ 46567 w 178348"/>
                <a:gd name="connsiteY25" fmla="*/ 151005 h 185732"/>
                <a:gd name="connsiteX26" fmla="*/ 42792 w 178348"/>
                <a:gd name="connsiteY26" fmla="*/ 152019 h 185732"/>
                <a:gd name="connsiteX27" fmla="*/ 29400 w 178348"/>
                <a:gd name="connsiteY27" fmla="*/ 157886 h 185732"/>
                <a:gd name="connsiteX28" fmla="*/ 21313 w 178348"/>
                <a:gd name="connsiteY28" fmla="*/ 156220 h 185732"/>
                <a:gd name="connsiteX29" fmla="*/ 320 w 178348"/>
                <a:gd name="connsiteY29" fmla="*/ 120063 h 185732"/>
                <a:gd name="connsiteX30" fmla="*/ 2911 w 178348"/>
                <a:gd name="connsiteY30" fmla="*/ 112195 h 185732"/>
                <a:gd name="connsiteX31" fmla="*/ 14751 w 178348"/>
                <a:gd name="connsiteY31" fmla="*/ 103470 h 185732"/>
                <a:gd name="connsiteX32" fmla="*/ 17581 w 178348"/>
                <a:gd name="connsiteY32" fmla="*/ 85097 h 185732"/>
                <a:gd name="connsiteX33" fmla="*/ 14751 w 178348"/>
                <a:gd name="connsiteY33" fmla="*/ 82267 h 185732"/>
                <a:gd name="connsiteX34" fmla="*/ 2911 w 178348"/>
                <a:gd name="connsiteY34" fmla="*/ 73562 h 185732"/>
                <a:gd name="connsiteX35" fmla="*/ 330 w 178348"/>
                <a:gd name="connsiteY35" fmla="*/ 65694 h 185732"/>
                <a:gd name="connsiteX36" fmla="*/ 21323 w 178348"/>
                <a:gd name="connsiteY36" fmla="*/ 29575 h 185732"/>
                <a:gd name="connsiteX37" fmla="*/ 29419 w 178348"/>
                <a:gd name="connsiteY37" fmla="*/ 27918 h 185732"/>
                <a:gd name="connsiteX38" fmla="*/ 42754 w 178348"/>
                <a:gd name="connsiteY38" fmla="*/ 33776 h 185732"/>
                <a:gd name="connsiteX39" fmla="*/ 60130 w 178348"/>
                <a:gd name="connsiteY39" fmla="*/ 26909 h 185732"/>
                <a:gd name="connsiteX40" fmla="*/ 61137 w 178348"/>
                <a:gd name="connsiteY40" fmla="*/ 23127 h 185732"/>
                <a:gd name="connsiteX41" fmla="*/ 62757 w 178348"/>
                <a:gd name="connsiteY41" fmla="*/ 8592 h 185732"/>
                <a:gd name="connsiteX42" fmla="*/ 68310 w 178348"/>
                <a:gd name="connsiteY42" fmla="*/ 2400 h 185732"/>
                <a:gd name="connsiteX43" fmla="*/ 89274 w 178348"/>
                <a:gd name="connsiteY43" fmla="*/ 0 h 185732"/>
                <a:gd name="connsiteX44" fmla="*/ 89274 w 178348"/>
                <a:gd name="connsiteY44" fmla="*/ 14288 h 185732"/>
                <a:gd name="connsiteX45" fmla="*/ 76377 w 178348"/>
                <a:gd name="connsiteY45" fmla="*/ 15402 h 185732"/>
                <a:gd name="connsiteX46" fmla="*/ 75339 w 178348"/>
                <a:gd name="connsiteY46" fmla="*/ 24708 h 185732"/>
                <a:gd name="connsiteX47" fmla="*/ 44984 w 178348"/>
                <a:gd name="connsiteY47" fmla="*/ 48995 h 185732"/>
                <a:gd name="connsiteX48" fmla="*/ 37010 w 178348"/>
                <a:gd name="connsiteY48" fmla="*/ 46863 h 185732"/>
                <a:gd name="connsiteX49" fmla="*/ 28457 w 178348"/>
                <a:gd name="connsiteY49" fmla="*/ 43110 h 185732"/>
                <a:gd name="connsiteX50" fmla="*/ 15617 w 178348"/>
                <a:gd name="connsiteY50" fmla="*/ 65180 h 185732"/>
                <a:gd name="connsiteX51" fmla="*/ 23218 w 178348"/>
                <a:gd name="connsiteY51" fmla="*/ 70771 h 185732"/>
                <a:gd name="connsiteX52" fmla="*/ 29080 w 178348"/>
                <a:gd name="connsiteY52" fmla="*/ 109134 h 185732"/>
                <a:gd name="connsiteX53" fmla="*/ 23218 w 178348"/>
                <a:gd name="connsiteY53" fmla="*/ 114995 h 185732"/>
                <a:gd name="connsiteX54" fmla="*/ 15608 w 178348"/>
                <a:gd name="connsiteY54" fmla="*/ 120596 h 185732"/>
                <a:gd name="connsiteX55" fmla="*/ 28447 w 178348"/>
                <a:gd name="connsiteY55" fmla="*/ 142713 h 185732"/>
                <a:gd name="connsiteX56" fmla="*/ 37068 w 178348"/>
                <a:gd name="connsiteY56" fmla="*/ 138932 h 185732"/>
                <a:gd name="connsiteX57" fmla="*/ 73209 w 178348"/>
                <a:gd name="connsiteY57" fmla="*/ 153105 h 185732"/>
                <a:gd name="connsiteX58" fmla="*/ 75330 w 178348"/>
                <a:gd name="connsiteY58" fmla="*/ 161011 h 185732"/>
                <a:gd name="connsiteX59" fmla="*/ 76377 w 178348"/>
                <a:gd name="connsiteY59" fmla="*/ 170383 h 185732"/>
                <a:gd name="connsiteX60" fmla="*/ 101971 w 178348"/>
                <a:gd name="connsiteY60" fmla="*/ 170383 h 185732"/>
                <a:gd name="connsiteX61" fmla="*/ 103019 w 178348"/>
                <a:gd name="connsiteY61" fmla="*/ 161011 h 185732"/>
                <a:gd name="connsiteX62" fmla="*/ 133318 w 178348"/>
                <a:gd name="connsiteY62" fmla="*/ 136761 h 185732"/>
                <a:gd name="connsiteX63" fmla="*/ 141290 w 178348"/>
                <a:gd name="connsiteY63" fmla="*/ 138894 h 185732"/>
                <a:gd name="connsiteX64" fmla="*/ 149910 w 178348"/>
                <a:gd name="connsiteY64" fmla="*/ 142665 h 185732"/>
                <a:gd name="connsiteX65" fmla="*/ 162740 w 178348"/>
                <a:gd name="connsiteY65" fmla="*/ 120587 h 185732"/>
                <a:gd name="connsiteX66" fmla="*/ 155140 w 178348"/>
                <a:gd name="connsiteY66" fmla="*/ 114986 h 185732"/>
                <a:gd name="connsiteX67" fmla="*/ 149278 w 178348"/>
                <a:gd name="connsiteY67" fmla="*/ 76623 h 185732"/>
                <a:gd name="connsiteX68" fmla="*/ 155140 w 178348"/>
                <a:gd name="connsiteY68" fmla="*/ 70761 h 185732"/>
                <a:gd name="connsiteX69" fmla="*/ 162721 w 178348"/>
                <a:gd name="connsiteY69" fmla="*/ 65170 h 185732"/>
                <a:gd name="connsiteX70" fmla="*/ 149882 w 178348"/>
                <a:gd name="connsiteY70" fmla="*/ 43101 h 185732"/>
                <a:gd name="connsiteX71" fmla="*/ 141347 w 178348"/>
                <a:gd name="connsiteY71" fmla="*/ 46844 h 185732"/>
                <a:gd name="connsiteX72" fmla="*/ 105167 w 178348"/>
                <a:gd name="connsiteY72" fmla="*/ 32696 h 185732"/>
                <a:gd name="connsiteX73" fmla="*/ 103028 w 178348"/>
                <a:gd name="connsiteY73" fmla="*/ 24708 h 185732"/>
                <a:gd name="connsiteX74" fmla="*/ 101980 w 178348"/>
                <a:gd name="connsiteY74" fmla="*/ 15411 h 185732"/>
                <a:gd name="connsiteX75" fmla="*/ 89284 w 178348"/>
                <a:gd name="connsiteY75" fmla="*/ 14297 h 185732"/>
                <a:gd name="connsiteX76" fmla="*/ 89160 w 178348"/>
                <a:gd name="connsiteY76" fmla="*/ 57150 h 185732"/>
                <a:gd name="connsiteX77" fmla="*/ 124879 w 178348"/>
                <a:gd name="connsiteY77" fmla="*/ 92869 h 185732"/>
                <a:gd name="connsiteX78" fmla="*/ 89160 w 178348"/>
                <a:gd name="connsiteY78" fmla="*/ 128588 h 185732"/>
                <a:gd name="connsiteX79" fmla="*/ 53441 w 178348"/>
                <a:gd name="connsiteY79" fmla="*/ 92869 h 185732"/>
                <a:gd name="connsiteX80" fmla="*/ 89160 w 178348"/>
                <a:gd name="connsiteY80" fmla="*/ 57150 h 185732"/>
                <a:gd name="connsiteX81" fmla="*/ 89160 w 178348"/>
                <a:gd name="connsiteY81" fmla="*/ 71438 h 185732"/>
                <a:gd name="connsiteX82" fmla="*/ 67729 w 178348"/>
                <a:gd name="connsiteY82" fmla="*/ 92869 h 185732"/>
                <a:gd name="connsiteX83" fmla="*/ 89160 w 178348"/>
                <a:gd name="connsiteY83" fmla="*/ 114300 h 185732"/>
                <a:gd name="connsiteX84" fmla="*/ 110591 w 178348"/>
                <a:gd name="connsiteY84" fmla="*/ 92869 h 185732"/>
                <a:gd name="connsiteX85" fmla="*/ 89160 w 178348"/>
                <a:gd name="connsiteY85" fmla="*/ 71438 h 1857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Lst>
              <a:rect l="l" t="t" r="r" b="b"/>
              <a:pathLst>
                <a:path w="178348" h="185732">
                  <a:moveTo>
                    <a:pt x="89274" y="0"/>
                  </a:moveTo>
                  <a:cubicBezTo>
                    <a:pt x="96265" y="76"/>
                    <a:pt x="103228" y="886"/>
                    <a:pt x="110058" y="2410"/>
                  </a:cubicBezTo>
                  <a:cubicBezTo>
                    <a:pt x="113036" y="3075"/>
                    <a:pt x="115263" y="5558"/>
                    <a:pt x="115601" y="8592"/>
                  </a:cubicBezTo>
                  <a:lnTo>
                    <a:pt x="117220" y="23136"/>
                  </a:lnTo>
                  <a:cubicBezTo>
                    <a:pt x="118027" y="30372"/>
                    <a:pt x="124547" y="35584"/>
                    <a:pt x="131782" y="34777"/>
                  </a:cubicBezTo>
                  <a:cubicBezTo>
                    <a:pt x="133090" y="34631"/>
                    <a:pt x="134368" y="34290"/>
                    <a:pt x="135575" y="33766"/>
                  </a:cubicBezTo>
                  <a:lnTo>
                    <a:pt x="148920" y="27908"/>
                  </a:lnTo>
                  <a:cubicBezTo>
                    <a:pt x="151696" y="26685"/>
                    <a:pt x="154943" y="27350"/>
                    <a:pt x="157016" y="29566"/>
                  </a:cubicBezTo>
                  <a:cubicBezTo>
                    <a:pt x="166654" y="39863"/>
                    <a:pt x="173832" y="52212"/>
                    <a:pt x="178009" y="65684"/>
                  </a:cubicBezTo>
                  <a:cubicBezTo>
                    <a:pt x="178906" y="68586"/>
                    <a:pt x="177871" y="71738"/>
                    <a:pt x="175428" y="73543"/>
                  </a:cubicBezTo>
                  <a:lnTo>
                    <a:pt x="163598" y="82267"/>
                  </a:lnTo>
                  <a:cubicBezTo>
                    <a:pt x="157743" y="86568"/>
                    <a:pt x="156483" y="94801"/>
                    <a:pt x="160784" y="100656"/>
                  </a:cubicBezTo>
                  <a:cubicBezTo>
                    <a:pt x="161574" y="101731"/>
                    <a:pt x="162522" y="102680"/>
                    <a:pt x="163598" y="103470"/>
                  </a:cubicBezTo>
                  <a:lnTo>
                    <a:pt x="175437" y="112185"/>
                  </a:lnTo>
                  <a:cubicBezTo>
                    <a:pt x="177888" y="113989"/>
                    <a:pt x="178928" y="117146"/>
                    <a:pt x="178028" y="120053"/>
                  </a:cubicBezTo>
                  <a:cubicBezTo>
                    <a:pt x="173849" y="133524"/>
                    <a:pt x="166672" y="145873"/>
                    <a:pt x="157035" y="156172"/>
                  </a:cubicBezTo>
                  <a:cubicBezTo>
                    <a:pt x="154967" y="158383"/>
                    <a:pt x="151731" y="159050"/>
                    <a:pt x="148958" y="157839"/>
                  </a:cubicBezTo>
                  <a:lnTo>
                    <a:pt x="135556" y="151962"/>
                  </a:lnTo>
                  <a:cubicBezTo>
                    <a:pt x="128908" y="149046"/>
                    <a:pt x="121154" y="152073"/>
                    <a:pt x="118240" y="158722"/>
                  </a:cubicBezTo>
                  <a:cubicBezTo>
                    <a:pt x="117703" y="159946"/>
                    <a:pt x="117356" y="161244"/>
                    <a:pt x="117211" y="162573"/>
                  </a:cubicBezTo>
                  <a:lnTo>
                    <a:pt x="115601" y="177108"/>
                  </a:lnTo>
                  <a:cubicBezTo>
                    <a:pt x="115269" y="180106"/>
                    <a:pt x="113089" y="182573"/>
                    <a:pt x="110153" y="183271"/>
                  </a:cubicBezTo>
                  <a:cubicBezTo>
                    <a:pt x="96356" y="186553"/>
                    <a:pt x="81983" y="186553"/>
                    <a:pt x="68186" y="183271"/>
                  </a:cubicBezTo>
                  <a:cubicBezTo>
                    <a:pt x="65251" y="182573"/>
                    <a:pt x="63070" y="180106"/>
                    <a:pt x="62737" y="177108"/>
                  </a:cubicBezTo>
                  <a:lnTo>
                    <a:pt x="61137" y="162592"/>
                  </a:lnTo>
                  <a:cubicBezTo>
                    <a:pt x="60314" y="155369"/>
                    <a:pt x="53790" y="150181"/>
                    <a:pt x="46567" y="151005"/>
                  </a:cubicBezTo>
                  <a:cubicBezTo>
                    <a:pt x="45265" y="151153"/>
                    <a:pt x="43993" y="151495"/>
                    <a:pt x="42792" y="152019"/>
                  </a:cubicBezTo>
                  <a:lnTo>
                    <a:pt x="29400" y="157886"/>
                  </a:lnTo>
                  <a:cubicBezTo>
                    <a:pt x="26624" y="159103"/>
                    <a:pt x="23382" y="158434"/>
                    <a:pt x="21313" y="156220"/>
                  </a:cubicBezTo>
                  <a:cubicBezTo>
                    <a:pt x="11671" y="145910"/>
                    <a:pt x="4493" y="133547"/>
                    <a:pt x="320" y="120063"/>
                  </a:cubicBezTo>
                  <a:cubicBezTo>
                    <a:pt x="-580" y="117156"/>
                    <a:pt x="460" y="113998"/>
                    <a:pt x="2911" y="112195"/>
                  </a:cubicBezTo>
                  <a:lnTo>
                    <a:pt x="14751" y="103470"/>
                  </a:lnTo>
                  <a:cubicBezTo>
                    <a:pt x="20605" y="99178"/>
                    <a:pt x="21873" y="90952"/>
                    <a:pt x="17581" y="85097"/>
                  </a:cubicBezTo>
                  <a:cubicBezTo>
                    <a:pt x="16787" y="84015"/>
                    <a:pt x="15833" y="83061"/>
                    <a:pt x="14751" y="82267"/>
                  </a:cubicBezTo>
                  <a:lnTo>
                    <a:pt x="2911" y="73562"/>
                  </a:lnTo>
                  <a:cubicBezTo>
                    <a:pt x="463" y="71756"/>
                    <a:pt x="-573" y="68599"/>
                    <a:pt x="330" y="65694"/>
                  </a:cubicBezTo>
                  <a:cubicBezTo>
                    <a:pt x="4507" y="52222"/>
                    <a:pt x="11684" y="39873"/>
                    <a:pt x="21323" y="29575"/>
                  </a:cubicBezTo>
                  <a:cubicBezTo>
                    <a:pt x="23396" y="27359"/>
                    <a:pt x="26642" y="26695"/>
                    <a:pt x="29419" y="27918"/>
                  </a:cubicBezTo>
                  <a:lnTo>
                    <a:pt x="42754" y="33776"/>
                  </a:lnTo>
                  <a:cubicBezTo>
                    <a:pt x="49448" y="36678"/>
                    <a:pt x="57228" y="33603"/>
                    <a:pt x="60130" y="26909"/>
                  </a:cubicBezTo>
                  <a:cubicBezTo>
                    <a:pt x="60652" y="25705"/>
                    <a:pt x="60991" y="24430"/>
                    <a:pt x="61137" y="23127"/>
                  </a:cubicBezTo>
                  <a:lnTo>
                    <a:pt x="62757" y="8592"/>
                  </a:lnTo>
                  <a:cubicBezTo>
                    <a:pt x="63092" y="5552"/>
                    <a:pt x="65324" y="3063"/>
                    <a:pt x="68310" y="2400"/>
                  </a:cubicBezTo>
                  <a:cubicBezTo>
                    <a:pt x="75139" y="886"/>
                    <a:pt x="82121" y="86"/>
                    <a:pt x="89274" y="0"/>
                  </a:cubicBezTo>
                  <a:close/>
                  <a:moveTo>
                    <a:pt x="89274" y="14288"/>
                  </a:moveTo>
                  <a:cubicBezTo>
                    <a:pt x="84954" y="14338"/>
                    <a:pt x="80643" y="14711"/>
                    <a:pt x="76377" y="15402"/>
                  </a:cubicBezTo>
                  <a:lnTo>
                    <a:pt x="75339" y="24708"/>
                  </a:lnTo>
                  <a:cubicBezTo>
                    <a:pt x="73664" y="39797"/>
                    <a:pt x="60073" y="50671"/>
                    <a:pt x="44984" y="48995"/>
                  </a:cubicBezTo>
                  <a:cubicBezTo>
                    <a:pt x="42234" y="48690"/>
                    <a:pt x="39546" y="47971"/>
                    <a:pt x="37010" y="46863"/>
                  </a:cubicBezTo>
                  <a:lnTo>
                    <a:pt x="28457" y="43110"/>
                  </a:lnTo>
                  <a:cubicBezTo>
                    <a:pt x="23009" y="49722"/>
                    <a:pt x="18672" y="57176"/>
                    <a:pt x="15617" y="65180"/>
                  </a:cubicBezTo>
                  <a:lnTo>
                    <a:pt x="23218" y="70771"/>
                  </a:lnTo>
                  <a:cubicBezTo>
                    <a:pt x="35431" y="79746"/>
                    <a:pt x="38055" y="96922"/>
                    <a:pt x="29080" y="109134"/>
                  </a:cubicBezTo>
                  <a:cubicBezTo>
                    <a:pt x="27434" y="111373"/>
                    <a:pt x="25458" y="113349"/>
                    <a:pt x="23218" y="114995"/>
                  </a:cubicBezTo>
                  <a:lnTo>
                    <a:pt x="15608" y="120596"/>
                  </a:lnTo>
                  <a:cubicBezTo>
                    <a:pt x="18656" y="128616"/>
                    <a:pt x="22999" y="136084"/>
                    <a:pt x="28447" y="142713"/>
                  </a:cubicBezTo>
                  <a:lnTo>
                    <a:pt x="37068" y="138932"/>
                  </a:lnTo>
                  <a:cubicBezTo>
                    <a:pt x="50962" y="132865"/>
                    <a:pt x="67143" y="139211"/>
                    <a:pt x="73209" y="153105"/>
                  </a:cubicBezTo>
                  <a:cubicBezTo>
                    <a:pt x="74308" y="155619"/>
                    <a:pt x="75022" y="158285"/>
                    <a:pt x="75330" y="161011"/>
                  </a:cubicBezTo>
                  <a:lnTo>
                    <a:pt x="76377" y="170383"/>
                  </a:lnTo>
                  <a:cubicBezTo>
                    <a:pt x="84845" y="171812"/>
                    <a:pt x="93503" y="171812"/>
                    <a:pt x="101971" y="170383"/>
                  </a:cubicBezTo>
                  <a:lnTo>
                    <a:pt x="103019" y="161011"/>
                  </a:lnTo>
                  <a:cubicBezTo>
                    <a:pt x="104689" y="145948"/>
                    <a:pt x="118254" y="135090"/>
                    <a:pt x="133318" y="136761"/>
                  </a:cubicBezTo>
                  <a:cubicBezTo>
                    <a:pt x="136068" y="137066"/>
                    <a:pt x="138756" y="137785"/>
                    <a:pt x="141290" y="138894"/>
                  </a:cubicBezTo>
                  <a:lnTo>
                    <a:pt x="149910" y="142665"/>
                  </a:lnTo>
                  <a:cubicBezTo>
                    <a:pt x="155356" y="136050"/>
                    <a:pt x="159689" y="128593"/>
                    <a:pt x="162740" y="120587"/>
                  </a:cubicBezTo>
                  <a:lnTo>
                    <a:pt x="155140" y="114986"/>
                  </a:lnTo>
                  <a:cubicBezTo>
                    <a:pt x="142928" y="106010"/>
                    <a:pt x="140303" y="88835"/>
                    <a:pt x="149278" y="76623"/>
                  </a:cubicBezTo>
                  <a:cubicBezTo>
                    <a:pt x="150924" y="74384"/>
                    <a:pt x="152900" y="72407"/>
                    <a:pt x="155140" y="70761"/>
                  </a:cubicBezTo>
                  <a:lnTo>
                    <a:pt x="162721" y="65170"/>
                  </a:lnTo>
                  <a:cubicBezTo>
                    <a:pt x="159667" y="57166"/>
                    <a:pt x="155330" y="49712"/>
                    <a:pt x="149882" y="43101"/>
                  </a:cubicBezTo>
                  <a:lnTo>
                    <a:pt x="141347" y="46844"/>
                  </a:lnTo>
                  <a:cubicBezTo>
                    <a:pt x="127449" y="52928"/>
                    <a:pt x="111251" y="46594"/>
                    <a:pt x="105167" y="32696"/>
                  </a:cubicBezTo>
                  <a:cubicBezTo>
                    <a:pt x="104055" y="30156"/>
                    <a:pt x="103334" y="27463"/>
                    <a:pt x="103028" y="24708"/>
                  </a:cubicBezTo>
                  <a:lnTo>
                    <a:pt x="101980" y="15411"/>
                  </a:lnTo>
                  <a:cubicBezTo>
                    <a:pt x="97782" y="14725"/>
                    <a:pt x="93538" y="14352"/>
                    <a:pt x="89284" y="14297"/>
                  </a:cubicBezTo>
                  <a:close/>
                  <a:moveTo>
                    <a:pt x="89160" y="57150"/>
                  </a:moveTo>
                  <a:cubicBezTo>
                    <a:pt x="108887" y="57150"/>
                    <a:pt x="124879" y="73142"/>
                    <a:pt x="124879" y="92869"/>
                  </a:cubicBezTo>
                  <a:cubicBezTo>
                    <a:pt x="124879" y="112596"/>
                    <a:pt x="108887" y="128588"/>
                    <a:pt x="89160" y="128588"/>
                  </a:cubicBezTo>
                  <a:cubicBezTo>
                    <a:pt x="69433" y="128588"/>
                    <a:pt x="53441" y="112596"/>
                    <a:pt x="53441" y="92869"/>
                  </a:cubicBezTo>
                  <a:cubicBezTo>
                    <a:pt x="53441" y="73142"/>
                    <a:pt x="69433" y="57150"/>
                    <a:pt x="89160" y="57150"/>
                  </a:cubicBezTo>
                  <a:close/>
                  <a:moveTo>
                    <a:pt x="89160" y="71438"/>
                  </a:moveTo>
                  <a:cubicBezTo>
                    <a:pt x="77324" y="71438"/>
                    <a:pt x="67729" y="81033"/>
                    <a:pt x="67729" y="92869"/>
                  </a:cubicBezTo>
                  <a:cubicBezTo>
                    <a:pt x="67729" y="104705"/>
                    <a:pt x="77324" y="114300"/>
                    <a:pt x="89160" y="114300"/>
                  </a:cubicBezTo>
                  <a:cubicBezTo>
                    <a:pt x="100996" y="114300"/>
                    <a:pt x="110591" y="104705"/>
                    <a:pt x="110591" y="92869"/>
                  </a:cubicBezTo>
                  <a:cubicBezTo>
                    <a:pt x="110591" y="81033"/>
                    <a:pt x="100996" y="71438"/>
                    <a:pt x="89160" y="71438"/>
                  </a:cubicBezTo>
                  <a:close/>
                </a:path>
              </a:pathLst>
            </a:custGeom>
            <a:gradFill flip="none" rotWithShape="1">
              <a:gsLst>
                <a:gs pos="0">
                  <a:srgbClr val="0078D4"/>
                </a:gs>
                <a:gs pos="100000">
                  <a:srgbClr val="C53FCC"/>
                </a:gs>
              </a:gsLst>
              <a:lin ang="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lIns="704088" tIns="45720" rIns="91440" bIns="45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white"/>
                </a:solidFill>
                <a:effectLst/>
                <a:uLnTx/>
                <a:uFillTx/>
                <a:latin typeface="Segoe UI Semibold"/>
                <a:ea typeface="+mn-ea"/>
                <a:cs typeface="+mn-cs"/>
              </a:endParaRPr>
            </a:p>
          </p:txBody>
        </p:sp>
      </p:grpSp>
    </p:spTree>
    <p:extLst>
      <p:ext uri="{BB962C8B-B14F-4D97-AF65-F5344CB8AC3E}">
        <p14:creationId xmlns:p14="http://schemas.microsoft.com/office/powerpoint/2010/main" val="279479882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6EAB218-CD8F-4598-5282-A631CEEEC584}"/>
            </a:ext>
          </a:extLst>
        </p:cNvPr>
        <p:cNvGrpSpPr/>
        <p:nvPr/>
      </p:nvGrpSpPr>
      <p:grpSpPr>
        <a:xfrm>
          <a:off x="0" y="0"/>
          <a:ext cx="0" cy="0"/>
          <a:chOff x="0" y="0"/>
          <a:chExt cx="0" cy="0"/>
        </a:xfrm>
      </p:grpSpPr>
      <p:pic>
        <p:nvPicPr>
          <p:cNvPr id="10" name="Picture 9">
            <a:extLst>
              <a:ext uri="{FF2B5EF4-FFF2-40B4-BE49-F238E27FC236}">
                <a16:creationId xmlns:a16="http://schemas.microsoft.com/office/drawing/2014/main" id="{1274B804-E9FF-7EF7-C2B3-9FAEBA6CB740}"/>
              </a:ext>
              <a:ext uri="{C183D7F6-B498-43B3-948B-1728B52AA6E4}">
                <adec:decorative xmlns:adec="http://schemas.microsoft.com/office/drawing/2017/decorative" val="1"/>
              </a:ext>
            </a:extLst>
          </p:cNvPr>
          <p:cNvPicPr>
            <a:picLocks noChangeAspect="1"/>
          </p:cNvPicPr>
          <p:nvPr/>
        </p:nvPicPr>
        <p:blipFill>
          <a:blip r:embed="rId3" cstate="screen">
            <a:extLst>
              <a:ext uri="{28A0092B-C50C-407E-A947-70E740481C1C}">
                <a14:useLocalDpi xmlns:a14="http://schemas.microsoft.com/office/drawing/2010/main"/>
              </a:ext>
            </a:extLst>
          </a:blip>
          <a:srcRect/>
          <a:stretch>
            <a:fillRect/>
          </a:stretch>
        </p:blipFill>
        <p:spPr>
          <a:xfrm flipV="1">
            <a:off x="6966857" y="3429000"/>
            <a:ext cx="5225143" cy="3429000"/>
          </a:xfrm>
          <a:prstGeom prst="rect">
            <a:avLst/>
          </a:prstGeom>
        </p:spPr>
      </p:pic>
      <p:sp>
        <p:nvSpPr>
          <p:cNvPr id="4" name="Rectangle: Top Corners Rounded 3">
            <a:extLst>
              <a:ext uri="{FF2B5EF4-FFF2-40B4-BE49-F238E27FC236}">
                <a16:creationId xmlns:a16="http://schemas.microsoft.com/office/drawing/2014/main" id="{0A585A91-04F5-29EF-0E1A-8EE1A4AB965E}"/>
              </a:ext>
              <a:ext uri="{C183D7F6-B498-43B3-948B-1728B52AA6E4}">
                <adec:decorative xmlns:adec="http://schemas.microsoft.com/office/drawing/2017/decorative" val="1"/>
              </a:ext>
            </a:extLst>
          </p:cNvPr>
          <p:cNvSpPr/>
          <p:nvPr/>
        </p:nvSpPr>
        <p:spPr>
          <a:xfrm>
            <a:off x="334297" y="0"/>
            <a:ext cx="2939845" cy="6286500"/>
          </a:xfrm>
          <a:prstGeom prst="round2SameRect">
            <a:avLst>
              <a:gd name="adj1" fmla="val 0"/>
              <a:gd name="adj2" fmla="val 8696"/>
            </a:avLst>
          </a:prstGeom>
          <a:gradFill>
            <a:gsLst>
              <a:gs pos="0">
                <a:schemeClr val="accent4"/>
              </a:gs>
              <a:gs pos="100000">
                <a:schemeClr val="accent6"/>
              </a:gs>
            </a:gsLst>
            <a:lin ang="54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9" name="Rounded Rectangle 1">
            <a:extLst>
              <a:ext uri="{FF2B5EF4-FFF2-40B4-BE49-F238E27FC236}">
                <a16:creationId xmlns:a16="http://schemas.microsoft.com/office/drawing/2014/main" id="{B475A3D9-33D1-16A2-544B-B16F645599BC}"/>
              </a:ext>
              <a:ext uri="{C183D7F6-B498-43B3-948B-1728B52AA6E4}">
                <adec:decorative xmlns:adec="http://schemas.microsoft.com/office/drawing/2017/decorative" val="1"/>
              </a:ext>
            </a:extLst>
          </p:cNvPr>
          <p:cNvSpPr/>
          <p:nvPr/>
        </p:nvSpPr>
        <p:spPr bwMode="auto">
          <a:xfrm>
            <a:off x="3650972" y="1036994"/>
            <a:ext cx="8045728" cy="5249506"/>
          </a:xfrm>
          <a:prstGeom prst="roundRect">
            <a:avLst>
              <a:gd name="adj" fmla="val 3421"/>
            </a:avLst>
          </a:prstGeom>
          <a:solidFill>
            <a:schemeClr val="bg1">
              <a:lumMod val="95000"/>
              <a:alpha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prstClr val="white"/>
              </a:solidFill>
              <a:effectLst/>
              <a:uLnTx/>
              <a:uFillTx/>
              <a:latin typeface="Segoe UI"/>
              <a:ea typeface="Segoe UI" pitchFamily="34" charset="0"/>
              <a:cs typeface="Segoe UI" pitchFamily="34" charset="0"/>
            </a:endParaRPr>
          </a:p>
        </p:txBody>
      </p:sp>
      <p:sp>
        <p:nvSpPr>
          <p:cNvPr id="5" name="Title 4">
            <a:extLst>
              <a:ext uri="{FF2B5EF4-FFF2-40B4-BE49-F238E27FC236}">
                <a16:creationId xmlns:a16="http://schemas.microsoft.com/office/drawing/2014/main" id="{3EC8F7FF-B997-90D8-F897-76B69147D631}"/>
              </a:ext>
            </a:extLst>
          </p:cNvPr>
          <p:cNvSpPr>
            <a:spLocks noGrp="1"/>
          </p:cNvSpPr>
          <p:nvPr>
            <p:ph type="title"/>
          </p:nvPr>
        </p:nvSpPr>
        <p:spPr>
          <a:xfrm>
            <a:off x="511175" y="2606180"/>
            <a:ext cx="1928413" cy="1074140"/>
          </a:xfrm>
        </p:spPr>
        <p:txBody>
          <a:bodyPr wrap="none" lIns="88900" tIns="38100" rIns="88900" bIns="38100" anchor="b">
            <a:spAutoFit/>
          </a:bodyPr>
          <a:lstStyle/>
          <a:p>
            <a:r>
              <a:rPr lang="en-GB" dirty="0">
                <a:solidFill>
                  <a:schemeClr val="bg1"/>
                </a:solidFill>
              </a:rPr>
              <a:t>Event</a:t>
            </a:r>
            <a:br>
              <a:rPr lang="en-GB" dirty="0">
                <a:solidFill>
                  <a:schemeClr val="bg1"/>
                </a:solidFill>
              </a:rPr>
            </a:br>
            <a:r>
              <a:rPr lang="en-GB" dirty="0">
                <a:solidFill>
                  <a:schemeClr val="bg1"/>
                </a:solidFill>
              </a:rPr>
              <a:t>Agenda </a:t>
            </a:r>
          </a:p>
        </p:txBody>
      </p:sp>
      <p:graphicFrame>
        <p:nvGraphicFramePr>
          <p:cNvPr id="7" name="Table 6">
            <a:extLst>
              <a:ext uri="{FF2B5EF4-FFF2-40B4-BE49-F238E27FC236}">
                <a16:creationId xmlns:a16="http://schemas.microsoft.com/office/drawing/2014/main" id="{5CAB02ED-7C3B-DCAD-E347-5DA9DF328807}"/>
              </a:ext>
            </a:extLst>
          </p:cNvPr>
          <p:cNvGraphicFramePr>
            <a:graphicFrameLocks noGrp="1"/>
          </p:cNvGraphicFramePr>
          <p:nvPr>
            <p:extLst>
              <p:ext uri="{D42A27DB-BD31-4B8C-83A1-F6EECF244321}">
                <p14:modId xmlns:p14="http://schemas.microsoft.com/office/powerpoint/2010/main" val="3280027613"/>
              </p:ext>
            </p:extLst>
          </p:nvPr>
        </p:nvGraphicFramePr>
        <p:xfrm>
          <a:off x="3650972" y="1036992"/>
          <a:ext cx="8045728" cy="5249508"/>
        </p:xfrm>
        <a:graphic>
          <a:graphicData uri="http://schemas.openxmlformats.org/drawingml/2006/table">
            <a:tbl>
              <a:tblPr firstRow="1" firstCol="1" bandRow="1">
                <a:effectLst/>
                <a:tableStyleId>{2D5ABB26-0587-4C30-8999-92F81FD0307C}</a:tableStyleId>
              </a:tblPr>
              <a:tblGrid>
                <a:gridCol w="921623">
                  <a:extLst>
                    <a:ext uri="{9D8B030D-6E8A-4147-A177-3AD203B41FA5}">
                      <a16:colId xmlns:a16="http://schemas.microsoft.com/office/drawing/2014/main" val="2425042780"/>
                    </a:ext>
                  </a:extLst>
                </a:gridCol>
                <a:gridCol w="1451783">
                  <a:extLst>
                    <a:ext uri="{9D8B030D-6E8A-4147-A177-3AD203B41FA5}">
                      <a16:colId xmlns:a16="http://schemas.microsoft.com/office/drawing/2014/main" val="3193638804"/>
                    </a:ext>
                  </a:extLst>
                </a:gridCol>
                <a:gridCol w="5672322">
                  <a:extLst>
                    <a:ext uri="{9D8B030D-6E8A-4147-A177-3AD203B41FA5}">
                      <a16:colId xmlns:a16="http://schemas.microsoft.com/office/drawing/2014/main" val="3290846685"/>
                    </a:ext>
                  </a:extLst>
                </a:gridCol>
              </a:tblGrid>
              <a:tr h="477228">
                <a:tc>
                  <a:txBody>
                    <a:bodyPr/>
                    <a:lstStyle/>
                    <a:p>
                      <a:pPr algn="ctr">
                        <a:buNone/>
                      </a:pPr>
                      <a:r>
                        <a:rPr lang="en-US" sz="1600" b="0" dirty="0">
                          <a:solidFill>
                            <a:schemeClr val="tx1"/>
                          </a:solidFill>
                          <a:latin typeface="+mj-lt"/>
                        </a:rPr>
                        <a:t>10 mins</a:t>
                      </a:r>
                      <a:endParaRPr lang="en-GB" sz="1600" b="0" dirty="0">
                        <a:solidFill>
                          <a:schemeClr val="tx1"/>
                        </a:solidFill>
                        <a:latin typeface="+mj-lt"/>
                      </a:endParaRPr>
                    </a:p>
                  </a:txBody>
                  <a:tcPr marT="91440" marB="91440" anchor="ctr">
                    <a:lnL w="6350">
                      <a:noFill/>
                    </a:lnL>
                    <a:lnR w="6350" cap="flat" cmpd="sng" algn="ctr">
                      <a:solidFill>
                        <a:schemeClr val="bg1">
                          <a:lumMod val="85000"/>
                        </a:schemeClr>
                      </a:solidFill>
                      <a:prstDash val="solid"/>
                      <a:round/>
                      <a:headEnd type="none" w="med" len="med"/>
                      <a:tailEnd type="none" w="med" len="med"/>
                    </a:lnR>
                    <a:lnT w="6350">
                      <a:noFill/>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lang="en-GB" sz="1600" b="0" dirty="0">
                          <a:solidFill>
                            <a:schemeClr val="tx1"/>
                          </a:solidFill>
                          <a:latin typeface="+mj-lt"/>
                        </a:rPr>
                        <a:t>08:30 – 08:40</a:t>
                      </a:r>
                    </a:p>
                  </a:txBody>
                  <a:tcPr marT="91440" marB="9144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a:buNone/>
                      </a:pPr>
                      <a:r>
                        <a:rPr lang="en-US" sz="1600" b="0" noProof="0" dirty="0">
                          <a:solidFill>
                            <a:schemeClr val="tx1"/>
                          </a:solidFill>
                          <a:latin typeface="+mn-lt"/>
                        </a:rPr>
                        <a:t>Welcome &amp; Kick off</a:t>
                      </a:r>
                    </a:p>
                  </a:txBody>
                  <a:tcPr marL="182880" marR="182880" marT="91440" marB="91440" anchor="ctr">
                    <a:lnL w="6350" cap="flat" cmpd="sng" algn="ctr">
                      <a:solidFill>
                        <a:schemeClr val="bg1">
                          <a:lumMod val="85000"/>
                        </a:schemeClr>
                      </a:solidFill>
                      <a:prstDash val="solid"/>
                      <a:round/>
                      <a:headEnd type="none" w="med" len="med"/>
                      <a:tailEnd type="none" w="med" len="med"/>
                    </a:lnL>
                    <a:lnR w="6350">
                      <a:noFill/>
                    </a:lnR>
                    <a:lnT w="6350">
                      <a:noFill/>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864502484"/>
                  </a:ext>
                </a:extLst>
              </a:tr>
              <a:tr h="477228">
                <a:tc>
                  <a:txBody>
                    <a:bodyPr/>
                    <a:lstStyle/>
                    <a:p>
                      <a:pPr algn="ctr">
                        <a:buNone/>
                      </a:pPr>
                      <a:r>
                        <a:rPr lang="en-US" sz="1600" b="0">
                          <a:solidFill>
                            <a:schemeClr val="tx1"/>
                          </a:solidFill>
                          <a:latin typeface="+mj-lt"/>
                        </a:rPr>
                        <a:t>35 mins</a:t>
                      </a:r>
                      <a:endParaRPr lang="en-GB" sz="1600" b="0">
                        <a:solidFill>
                          <a:schemeClr val="tx1"/>
                        </a:solidFill>
                        <a:latin typeface="+mj-lt"/>
                      </a:endParaRPr>
                    </a:p>
                  </a:txBody>
                  <a:tcPr marT="91440" marB="91440" anchor="ctr">
                    <a:lnL w="6350">
                      <a:noFill/>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lang="en-GB" sz="1600" b="0">
                          <a:solidFill>
                            <a:schemeClr val="tx1"/>
                          </a:solidFill>
                          <a:latin typeface="+mj-lt"/>
                        </a:rPr>
                        <a:t>08:40 – 09:15</a:t>
                      </a:r>
                    </a:p>
                  </a:txBody>
                  <a:tcPr marT="91440" marB="9144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a:buNone/>
                      </a:pPr>
                      <a:r>
                        <a:rPr lang="en-US" sz="1600" b="0" noProof="0" dirty="0">
                          <a:solidFill>
                            <a:schemeClr val="tx1"/>
                          </a:solidFill>
                          <a:latin typeface="+mn-lt"/>
                        </a:rPr>
                        <a:t>Copilot: What’s new &amp; the Art of Prompting</a:t>
                      </a:r>
                    </a:p>
                  </a:txBody>
                  <a:tcPr marL="182880" marR="182880" marT="91440" marB="91440" anchor="ctr">
                    <a:lnL w="6350" cap="flat" cmpd="sng" algn="ctr">
                      <a:solidFill>
                        <a:schemeClr val="bg1">
                          <a:lumMod val="85000"/>
                        </a:schemeClr>
                      </a:solidFill>
                      <a:prstDash val="solid"/>
                      <a:round/>
                      <a:headEnd type="none" w="med" len="med"/>
                      <a:tailEnd type="none" w="med" len="med"/>
                    </a:lnL>
                    <a:lnR w="6350">
                      <a:noFill/>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224253332"/>
                  </a:ext>
                </a:extLst>
              </a:tr>
              <a:tr h="477228">
                <a:tc>
                  <a:txBody>
                    <a:bodyPr/>
                    <a:lstStyle/>
                    <a:p>
                      <a:pPr algn="ctr">
                        <a:buNone/>
                      </a:pPr>
                      <a:r>
                        <a:rPr lang="en-US" sz="1600" b="0">
                          <a:solidFill>
                            <a:schemeClr val="tx1"/>
                          </a:solidFill>
                          <a:latin typeface="+mj-lt"/>
                        </a:rPr>
                        <a:t>45 mins</a:t>
                      </a:r>
                      <a:endParaRPr lang="en-GB" sz="1600" b="0">
                        <a:solidFill>
                          <a:schemeClr val="tx1"/>
                        </a:solidFill>
                        <a:latin typeface="+mj-lt"/>
                      </a:endParaRPr>
                    </a:p>
                  </a:txBody>
                  <a:tcPr marT="91440" marB="91440" anchor="ctr">
                    <a:lnL w="6350">
                      <a:noFill/>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buNone/>
                      </a:pPr>
                      <a:r>
                        <a:rPr lang="en-GB" sz="1600" b="0">
                          <a:solidFill>
                            <a:schemeClr val="tx1"/>
                          </a:solidFill>
                          <a:latin typeface="+mj-lt"/>
                        </a:rPr>
                        <a:t>09:15 – 10:00</a:t>
                      </a:r>
                    </a:p>
                  </a:txBody>
                  <a:tcPr marT="91440" marB="9144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a:buNone/>
                      </a:pPr>
                      <a:r>
                        <a:rPr lang="en-US" sz="1600" b="0" noProof="0" dirty="0">
                          <a:solidFill>
                            <a:schemeClr val="tx1"/>
                          </a:solidFill>
                          <a:latin typeface="+mn-lt"/>
                        </a:rPr>
                        <a:t>Becoming a Frontier Firm with Copilot &amp; Agents</a:t>
                      </a:r>
                    </a:p>
                  </a:txBody>
                  <a:tcPr marL="182880" marR="182880" marT="91440" marB="91440" anchor="ctr">
                    <a:lnL w="6350" cap="flat" cmpd="sng" algn="ctr">
                      <a:solidFill>
                        <a:schemeClr val="bg1">
                          <a:lumMod val="85000"/>
                        </a:schemeClr>
                      </a:solidFill>
                      <a:prstDash val="solid"/>
                      <a:round/>
                      <a:headEnd type="none" w="med" len="med"/>
                      <a:tailEnd type="none" w="med" len="med"/>
                    </a:lnL>
                    <a:lnR w="6350">
                      <a:noFill/>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330478789"/>
                  </a:ext>
                </a:extLst>
              </a:tr>
              <a:tr h="477228">
                <a:tc>
                  <a:txBody>
                    <a:bodyPr/>
                    <a:lstStyle/>
                    <a:p>
                      <a:pPr algn="ctr">
                        <a:buNone/>
                      </a:pPr>
                      <a:r>
                        <a:rPr lang="en-GB" sz="1600" b="0">
                          <a:solidFill>
                            <a:schemeClr val="tx1"/>
                          </a:solidFill>
                          <a:latin typeface="+mj-lt"/>
                        </a:rPr>
                        <a:t>15 mins</a:t>
                      </a:r>
                    </a:p>
                  </a:txBody>
                  <a:tcPr marT="91440" marB="91440" anchor="ctr">
                    <a:lnL w="6350">
                      <a:noFill/>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buNone/>
                      </a:pPr>
                      <a:r>
                        <a:rPr lang="en-GB" sz="1600" b="0">
                          <a:solidFill>
                            <a:schemeClr val="tx1"/>
                          </a:solidFill>
                          <a:latin typeface="+mj-lt"/>
                        </a:rPr>
                        <a:t>10:00 – 10:15</a:t>
                      </a:r>
                    </a:p>
                  </a:txBody>
                  <a:tcPr marT="91440" marB="9144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a:buNone/>
                      </a:pPr>
                      <a:r>
                        <a:rPr lang="en-US" sz="1600" b="0" noProof="0" dirty="0">
                          <a:solidFill>
                            <a:schemeClr val="tx1"/>
                          </a:solidFill>
                          <a:latin typeface="+mn-lt"/>
                        </a:rPr>
                        <a:t>Coffee Break</a:t>
                      </a:r>
                    </a:p>
                  </a:txBody>
                  <a:tcPr marL="182880" marR="182880" marT="91440" marB="91440" anchor="ctr">
                    <a:lnL w="6350" cap="flat" cmpd="sng" algn="ctr">
                      <a:solidFill>
                        <a:schemeClr val="bg1">
                          <a:lumMod val="85000"/>
                        </a:schemeClr>
                      </a:solidFill>
                      <a:prstDash val="solid"/>
                      <a:round/>
                      <a:headEnd type="none" w="med" len="med"/>
                      <a:tailEnd type="none" w="med" len="med"/>
                    </a:lnL>
                    <a:lnR w="6350">
                      <a:noFill/>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473176265"/>
                  </a:ext>
                </a:extLst>
              </a:tr>
              <a:tr h="477228">
                <a:tc>
                  <a:txBody>
                    <a:bodyPr/>
                    <a:lstStyle/>
                    <a:p>
                      <a:pPr algn="ctr">
                        <a:buNone/>
                      </a:pPr>
                      <a:r>
                        <a:rPr lang="en-GB" sz="1600" b="0">
                          <a:solidFill>
                            <a:schemeClr val="tx1"/>
                          </a:solidFill>
                          <a:latin typeface="+mj-lt"/>
                        </a:rPr>
                        <a:t>45 mins</a:t>
                      </a:r>
                    </a:p>
                  </a:txBody>
                  <a:tcPr marT="91440" marB="91440" anchor="ctr">
                    <a:lnL w="6350">
                      <a:noFill/>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buNone/>
                      </a:pPr>
                      <a:r>
                        <a:rPr lang="en-GB" sz="1600" b="0">
                          <a:solidFill>
                            <a:schemeClr val="tx1"/>
                          </a:solidFill>
                          <a:latin typeface="+mj-lt"/>
                        </a:rPr>
                        <a:t>10:15 – 11:00</a:t>
                      </a:r>
                    </a:p>
                  </a:txBody>
                  <a:tcPr marT="91440" marB="9144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a:buNone/>
                      </a:pPr>
                      <a:r>
                        <a:rPr lang="en-US" sz="1600" noProof="0" dirty="0">
                          <a:solidFill>
                            <a:schemeClr val="tx1"/>
                          </a:solidFill>
                          <a:latin typeface="+mn-lt"/>
                        </a:rPr>
                        <a:t>Hands-on Lab: Get Started With Agents</a:t>
                      </a:r>
                      <a:endParaRPr lang="en-US" sz="1600" b="0" noProof="0" dirty="0">
                        <a:solidFill>
                          <a:schemeClr val="tx1"/>
                        </a:solidFill>
                        <a:latin typeface="+mn-lt"/>
                      </a:endParaRPr>
                    </a:p>
                  </a:txBody>
                  <a:tcPr marL="182880" marR="182880" marT="91440" marB="91440" anchor="ctr">
                    <a:lnL w="6350" cap="flat" cmpd="sng" algn="ctr">
                      <a:solidFill>
                        <a:schemeClr val="bg1">
                          <a:lumMod val="85000"/>
                        </a:schemeClr>
                      </a:solidFill>
                      <a:prstDash val="solid"/>
                      <a:round/>
                      <a:headEnd type="none" w="med" len="med"/>
                      <a:tailEnd type="none" w="med" len="med"/>
                    </a:lnL>
                    <a:lnR w="6350">
                      <a:noFill/>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43338443"/>
                  </a:ext>
                </a:extLst>
              </a:tr>
              <a:tr h="477228">
                <a:tc>
                  <a:txBody>
                    <a:bodyPr/>
                    <a:lstStyle/>
                    <a:p>
                      <a:pPr algn="ctr">
                        <a:buNone/>
                      </a:pPr>
                      <a:r>
                        <a:rPr lang="en-GB" sz="1600" b="0">
                          <a:solidFill>
                            <a:schemeClr val="tx1"/>
                          </a:solidFill>
                          <a:latin typeface="+mj-lt"/>
                        </a:rPr>
                        <a:t>15 mins</a:t>
                      </a:r>
                    </a:p>
                  </a:txBody>
                  <a:tcPr marT="91440" marB="91440" anchor="ctr">
                    <a:lnL w="6350">
                      <a:noFill/>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buNone/>
                      </a:pPr>
                      <a:r>
                        <a:rPr lang="en-GB" sz="1600" b="0">
                          <a:solidFill>
                            <a:schemeClr val="tx1"/>
                          </a:solidFill>
                          <a:latin typeface="+mj-lt"/>
                        </a:rPr>
                        <a:t>11:00  – 11:15</a:t>
                      </a:r>
                      <a:endParaRPr lang="en-US" sz="1600" b="0">
                        <a:solidFill>
                          <a:schemeClr val="tx1"/>
                        </a:solidFill>
                        <a:latin typeface="+mj-lt"/>
                      </a:endParaRPr>
                    </a:p>
                  </a:txBody>
                  <a:tcPr marT="91440" marB="9144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a:buNone/>
                      </a:pPr>
                      <a:r>
                        <a:rPr lang="en-US" sz="1600" b="0" noProof="0" dirty="0">
                          <a:solidFill>
                            <a:schemeClr val="tx1"/>
                          </a:solidFill>
                          <a:latin typeface="+mn-lt"/>
                        </a:rPr>
                        <a:t>Hackathon Kickoff</a:t>
                      </a:r>
                    </a:p>
                  </a:txBody>
                  <a:tcPr marL="182880" marR="182880" marT="91440" marB="91440" anchor="ctr">
                    <a:lnL w="6350" cap="flat" cmpd="sng" algn="ctr">
                      <a:solidFill>
                        <a:schemeClr val="bg1">
                          <a:lumMod val="85000"/>
                        </a:schemeClr>
                      </a:solidFill>
                      <a:prstDash val="solid"/>
                      <a:round/>
                      <a:headEnd type="none" w="med" len="med"/>
                      <a:tailEnd type="none" w="med" len="med"/>
                    </a:lnL>
                    <a:lnR w="6350">
                      <a:noFill/>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9905857"/>
                  </a:ext>
                </a:extLst>
              </a:tr>
              <a:tr h="477228">
                <a:tc>
                  <a:txBody>
                    <a:bodyPr/>
                    <a:lstStyle/>
                    <a:p>
                      <a:pPr algn="ctr">
                        <a:buNone/>
                      </a:pPr>
                      <a:r>
                        <a:rPr lang="en-US" sz="1600" b="0">
                          <a:solidFill>
                            <a:schemeClr val="tx1"/>
                          </a:solidFill>
                          <a:latin typeface="+mj-lt"/>
                        </a:rPr>
                        <a:t>45 mins</a:t>
                      </a:r>
                      <a:endParaRPr lang="en-GB" sz="1600" b="0">
                        <a:solidFill>
                          <a:schemeClr val="tx1"/>
                        </a:solidFill>
                        <a:latin typeface="+mj-lt"/>
                      </a:endParaRPr>
                    </a:p>
                  </a:txBody>
                  <a:tcPr marT="91440" marB="91440" anchor="ctr">
                    <a:lnL w="6350">
                      <a:noFill/>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buNone/>
                      </a:pPr>
                      <a:r>
                        <a:rPr lang="en-GB" sz="1600" b="0">
                          <a:solidFill>
                            <a:schemeClr val="tx1"/>
                          </a:solidFill>
                          <a:latin typeface="+mj-lt"/>
                        </a:rPr>
                        <a:t>11:15 – 12:00</a:t>
                      </a:r>
                    </a:p>
                  </a:txBody>
                  <a:tcPr marT="91440" marB="9144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a:buNone/>
                      </a:pPr>
                      <a:r>
                        <a:rPr lang="en-US" sz="1600" b="0" noProof="0" dirty="0">
                          <a:solidFill>
                            <a:schemeClr val="tx1"/>
                          </a:solidFill>
                          <a:latin typeface="+mn-lt"/>
                        </a:rPr>
                        <a:t>Hackathon Ideation</a:t>
                      </a:r>
                    </a:p>
                  </a:txBody>
                  <a:tcPr marL="182880" marR="182880" marT="91440" marB="91440" anchor="ctr">
                    <a:lnL w="6350" cap="flat" cmpd="sng" algn="ctr">
                      <a:solidFill>
                        <a:schemeClr val="bg1">
                          <a:lumMod val="85000"/>
                        </a:schemeClr>
                      </a:solidFill>
                      <a:prstDash val="solid"/>
                      <a:round/>
                      <a:headEnd type="none" w="med" len="med"/>
                      <a:tailEnd type="none" w="med" len="med"/>
                    </a:lnL>
                    <a:lnR w="6350">
                      <a:noFill/>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311286359"/>
                  </a:ext>
                </a:extLst>
              </a:tr>
              <a:tr h="477228">
                <a:tc>
                  <a:txBody>
                    <a:bodyPr/>
                    <a:lstStyle/>
                    <a:p>
                      <a:pPr algn="ctr">
                        <a:buNone/>
                      </a:pPr>
                      <a:r>
                        <a:rPr lang="en-GB" sz="1600" b="0">
                          <a:solidFill>
                            <a:schemeClr val="tx1"/>
                          </a:solidFill>
                          <a:latin typeface="+mj-lt"/>
                        </a:rPr>
                        <a:t>60 mins</a:t>
                      </a:r>
                    </a:p>
                  </a:txBody>
                  <a:tcPr marT="91440" marB="91440" anchor="ctr">
                    <a:lnL w="6350">
                      <a:noFill/>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buNone/>
                      </a:pPr>
                      <a:r>
                        <a:rPr lang="en-GB" sz="1600" b="0">
                          <a:solidFill>
                            <a:schemeClr val="tx1"/>
                          </a:solidFill>
                          <a:latin typeface="+mj-lt"/>
                        </a:rPr>
                        <a:t>12:00 – 13:00</a:t>
                      </a:r>
                    </a:p>
                  </a:txBody>
                  <a:tcPr marT="91440" marB="9144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a:buNone/>
                      </a:pPr>
                      <a:r>
                        <a:rPr lang="en-US" sz="1600" b="0" noProof="0" dirty="0">
                          <a:solidFill>
                            <a:schemeClr val="tx1"/>
                          </a:solidFill>
                          <a:latin typeface="+mn-lt"/>
                        </a:rPr>
                        <a:t>Lunch Break</a:t>
                      </a:r>
                    </a:p>
                  </a:txBody>
                  <a:tcPr marL="182880" marR="182880" marT="91440" marB="91440" anchor="ctr">
                    <a:lnL w="6350" cap="flat" cmpd="sng" algn="ctr">
                      <a:solidFill>
                        <a:schemeClr val="bg1">
                          <a:lumMod val="85000"/>
                        </a:schemeClr>
                      </a:solidFill>
                      <a:prstDash val="solid"/>
                      <a:round/>
                      <a:headEnd type="none" w="med" len="med"/>
                      <a:tailEnd type="none" w="med" len="med"/>
                    </a:lnL>
                    <a:lnR w="6350">
                      <a:noFill/>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854925527"/>
                  </a:ext>
                </a:extLst>
              </a:tr>
              <a:tr h="477228">
                <a:tc>
                  <a:txBody>
                    <a:bodyPr/>
                    <a:lstStyle/>
                    <a:p>
                      <a:pPr algn="ctr">
                        <a:buNone/>
                      </a:pPr>
                      <a:r>
                        <a:rPr lang="en-US" sz="1600" b="0">
                          <a:solidFill>
                            <a:schemeClr val="tx1"/>
                          </a:solidFill>
                          <a:latin typeface="+mj-lt"/>
                        </a:rPr>
                        <a:t>45 mins</a:t>
                      </a:r>
                      <a:endParaRPr lang="en-GB" sz="1600" b="0">
                        <a:solidFill>
                          <a:schemeClr val="tx1"/>
                        </a:solidFill>
                        <a:latin typeface="+mj-lt"/>
                      </a:endParaRPr>
                    </a:p>
                  </a:txBody>
                  <a:tcPr marT="91440" marB="91440" anchor="ctr">
                    <a:lnL w="6350">
                      <a:noFill/>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buNone/>
                      </a:pPr>
                      <a:r>
                        <a:rPr lang="en-US" sz="1600" b="0">
                          <a:solidFill>
                            <a:schemeClr val="tx1"/>
                          </a:solidFill>
                          <a:latin typeface="+mj-lt"/>
                        </a:rPr>
                        <a:t>13:00 – 13:45</a:t>
                      </a:r>
                      <a:endParaRPr lang="en-GB" sz="1600" b="0">
                        <a:solidFill>
                          <a:schemeClr val="tx1"/>
                        </a:solidFill>
                        <a:latin typeface="+mj-lt"/>
                      </a:endParaRPr>
                    </a:p>
                  </a:txBody>
                  <a:tcPr marT="91440" marB="9144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a:buNone/>
                      </a:pPr>
                      <a:r>
                        <a:rPr lang="en-US" sz="1600" b="0" noProof="0" dirty="0">
                          <a:solidFill>
                            <a:schemeClr val="tx1"/>
                          </a:solidFill>
                          <a:latin typeface="+mn-lt"/>
                        </a:rPr>
                        <a:t>Hackathon continued</a:t>
                      </a:r>
                    </a:p>
                  </a:txBody>
                  <a:tcPr marL="182880" marR="182880" marT="91440" marB="91440" anchor="ctr">
                    <a:lnL w="6350" cap="flat" cmpd="sng" algn="ctr">
                      <a:solidFill>
                        <a:schemeClr val="bg1">
                          <a:lumMod val="85000"/>
                        </a:schemeClr>
                      </a:solidFill>
                      <a:prstDash val="solid"/>
                      <a:round/>
                      <a:headEnd type="none" w="med" len="med"/>
                      <a:tailEnd type="none" w="med" len="med"/>
                    </a:lnL>
                    <a:lnR w="6350">
                      <a:noFill/>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350559784"/>
                  </a:ext>
                </a:extLst>
              </a:tr>
              <a:tr h="477228">
                <a:tc>
                  <a:txBody>
                    <a:bodyPr/>
                    <a:lstStyle/>
                    <a:p>
                      <a:pPr algn="ctr">
                        <a:buNone/>
                      </a:pPr>
                      <a:r>
                        <a:rPr lang="en-GB" sz="1600" b="0">
                          <a:solidFill>
                            <a:schemeClr val="tx1"/>
                          </a:solidFill>
                          <a:latin typeface="+mj-lt"/>
                        </a:rPr>
                        <a:t>60 mins</a:t>
                      </a:r>
                    </a:p>
                  </a:txBody>
                  <a:tcPr marT="91440" marB="91440" anchor="ctr">
                    <a:lnL w="6350">
                      <a:noFill/>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buNone/>
                      </a:pPr>
                      <a:r>
                        <a:rPr lang="en-GB" sz="1600" b="0">
                          <a:solidFill>
                            <a:schemeClr val="tx1"/>
                          </a:solidFill>
                          <a:latin typeface="+mj-lt"/>
                        </a:rPr>
                        <a:t>13:45 – 14:45</a:t>
                      </a:r>
                    </a:p>
                  </a:txBody>
                  <a:tcPr marT="91440" marB="9144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a:buNone/>
                      </a:pPr>
                      <a:r>
                        <a:rPr lang="en-US" sz="1600" b="0" noProof="0" dirty="0">
                          <a:solidFill>
                            <a:schemeClr val="tx1"/>
                          </a:solidFill>
                          <a:latin typeface="+mn-lt"/>
                        </a:rPr>
                        <a:t>Team Presentations: Agents Showcase</a:t>
                      </a:r>
                    </a:p>
                  </a:txBody>
                  <a:tcPr marL="182880" marR="182880" marT="91440" marB="91440" anchor="ctr">
                    <a:lnL w="6350" cap="flat" cmpd="sng" algn="ctr">
                      <a:solidFill>
                        <a:schemeClr val="bg1">
                          <a:lumMod val="85000"/>
                        </a:schemeClr>
                      </a:solidFill>
                      <a:prstDash val="solid"/>
                      <a:round/>
                      <a:headEnd type="none" w="med" len="med"/>
                      <a:tailEnd type="none" w="med" len="med"/>
                    </a:lnL>
                    <a:lnR w="6350">
                      <a:noFill/>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32341210"/>
                  </a:ext>
                </a:extLst>
              </a:tr>
              <a:tr h="477228">
                <a:tc>
                  <a:txBody>
                    <a:bodyPr/>
                    <a:lstStyle/>
                    <a:p>
                      <a:pPr algn="ctr">
                        <a:buNone/>
                      </a:pPr>
                      <a:r>
                        <a:rPr lang="en-GB" sz="1600" b="0">
                          <a:solidFill>
                            <a:schemeClr val="tx1"/>
                          </a:solidFill>
                          <a:latin typeface="+mj-lt"/>
                        </a:rPr>
                        <a:t>15 mins</a:t>
                      </a:r>
                    </a:p>
                  </a:txBody>
                  <a:tcPr marT="91440" marB="91440" anchor="ctr">
                    <a:lnL w="6350">
                      <a:noFill/>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a:noFill/>
                    </a:lnB>
                    <a:lnTlToBr w="12700" cmpd="sng">
                      <a:noFill/>
                      <a:prstDash val="solid"/>
                    </a:lnTlToBr>
                    <a:lnBlToTr w="12700" cmpd="sng">
                      <a:noFill/>
                      <a:prstDash val="solid"/>
                    </a:lnBlToTr>
                  </a:tcPr>
                </a:tc>
                <a:tc>
                  <a:txBody>
                    <a:bodyPr/>
                    <a:lstStyle/>
                    <a:p>
                      <a:pPr algn="ctr">
                        <a:buNone/>
                      </a:pPr>
                      <a:r>
                        <a:rPr lang="en-GB" sz="1600" b="0">
                          <a:solidFill>
                            <a:schemeClr val="tx1"/>
                          </a:solidFill>
                          <a:latin typeface="+mj-lt"/>
                        </a:rPr>
                        <a:t>14:45 – 15:00</a:t>
                      </a:r>
                    </a:p>
                  </a:txBody>
                  <a:tcPr marT="91440" marB="9144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a:noFill/>
                    </a:lnB>
                    <a:lnTlToBr w="12700" cmpd="sng">
                      <a:noFill/>
                      <a:prstDash val="solid"/>
                    </a:lnTlToBr>
                    <a:lnBlToTr w="12700" cmpd="sng">
                      <a:noFill/>
                      <a:prstDash val="solid"/>
                    </a:lnBlToTr>
                  </a:tcPr>
                </a:tc>
                <a:tc>
                  <a:txBody>
                    <a:bodyPr/>
                    <a:lstStyle/>
                    <a:p>
                      <a:pPr algn="l">
                        <a:buNone/>
                      </a:pPr>
                      <a:r>
                        <a:rPr lang="en-US" sz="1600" b="0" noProof="0" dirty="0">
                          <a:solidFill>
                            <a:schemeClr val="tx1"/>
                          </a:solidFill>
                          <a:latin typeface="+mn-lt"/>
                        </a:rPr>
                        <a:t>Winner Announcement &amp; Close</a:t>
                      </a:r>
                    </a:p>
                  </a:txBody>
                  <a:tcPr marL="182880" marR="182880" marT="91440" marB="91440" anchor="ctr">
                    <a:lnL w="6350" cap="flat" cmpd="sng" algn="ctr">
                      <a:solidFill>
                        <a:schemeClr val="bg1">
                          <a:lumMod val="85000"/>
                        </a:schemeClr>
                      </a:solidFill>
                      <a:prstDash val="solid"/>
                      <a:round/>
                      <a:headEnd type="none" w="med" len="med"/>
                      <a:tailEnd type="none" w="med" len="med"/>
                    </a:lnL>
                    <a:lnR w="6350">
                      <a:noFill/>
                    </a:lnR>
                    <a:lnT w="6350" cap="flat" cmpd="sng" algn="ctr">
                      <a:solidFill>
                        <a:schemeClr val="bg1">
                          <a:lumMod val="85000"/>
                        </a:schemeClr>
                      </a:solidFill>
                      <a:prstDash val="solid"/>
                      <a:round/>
                      <a:headEnd type="none" w="med" len="med"/>
                      <a:tailEnd type="none" w="med" len="med"/>
                    </a:lnT>
                    <a:lnB w="6350">
                      <a:noFill/>
                    </a:lnB>
                    <a:lnTlToBr w="12700" cmpd="sng">
                      <a:noFill/>
                      <a:prstDash val="solid"/>
                    </a:lnTlToBr>
                    <a:lnBlToTr w="12700" cmpd="sng">
                      <a:noFill/>
                      <a:prstDash val="solid"/>
                    </a:lnBlToTr>
                  </a:tcPr>
                </a:tc>
                <a:extLst>
                  <a:ext uri="{0D108BD9-81ED-4DB2-BD59-A6C34878D82A}">
                    <a16:rowId xmlns:a16="http://schemas.microsoft.com/office/drawing/2014/main" val="4191293707"/>
                  </a:ext>
                </a:extLst>
              </a:tr>
            </a:tbl>
          </a:graphicData>
        </a:graphic>
      </p:graphicFrame>
    </p:spTree>
    <p:extLst>
      <p:ext uri="{BB962C8B-B14F-4D97-AF65-F5344CB8AC3E}">
        <p14:creationId xmlns:p14="http://schemas.microsoft.com/office/powerpoint/2010/main" val="22312492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a:extLst>
            <a:ext uri="{FF2B5EF4-FFF2-40B4-BE49-F238E27FC236}">
              <a16:creationId xmlns:a16="http://schemas.microsoft.com/office/drawing/2014/main" id="{E384C25E-B11E-82CA-B3F3-2816064D34DB}"/>
            </a:ext>
          </a:extLst>
        </p:cNvPr>
        <p:cNvGrpSpPr/>
        <p:nvPr/>
      </p:nvGrpSpPr>
      <p:grpSpPr>
        <a:xfrm>
          <a:off x="0" y="0"/>
          <a:ext cx="0" cy="0"/>
          <a:chOff x="0" y="0"/>
          <a:chExt cx="0" cy="0"/>
        </a:xfrm>
      </p:grpSpPr>
      <p:sp>
        <p:nvSpPr>
          <p:cNvPr id="26" name="TextBox 25">
            <a:extLst>
              <a:ext uri="{FF2B5EF4-FFF2-40B4-BE49-F238E27FC236}">
                <a16:creationId xmlns:a16="http://schemas.microsoft.com/office/drawing/2014/main" id="{C3A4CEB0-0216-9A70-C845-E6C50EC51528}"/>
              </a:ext>
              <a:ext uri="{C183D7F6-B498-43B3-948B-1728B52AA6E4}">
                <adec:decorative xmlns:adec="http://schemas.microsoft.com/office/drawing/2017/decorative" val="1"/>
              </a:ext>
            </a:extLst>
          </p:cNvPr>
          <p:cNvSpPr txBox="1"/>
          <p:nvPr/>
        </p:nvSpPr>
        <p:spPr>
          <a:xfrm>
            <a:off x="805135" y="5326277"/>
            <a:ext cx="2090057" cy="182880"/>
          </a:xfrm>
          <a:prstGeom prst="roundRect">
            <a:avLst>
              <a:gd name="adj" fmla="val 50000"/>
            </a:avLst>
          </a:prstGeom>
          <a:gradFill flip="none" rotWithShape="1">
            <a:gsLst>
              <a:gs pos="0">
                <a:srgbClr val="0078D4"/>
              </a:gs>
              <a:gs pos="100000">
                <a:srgbClr val="C53FCC"/>
              </a:gs>
            </a:gsLst>
            <a:lin ang="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lIns="182880" tIns="137160" rIns="182880" bIns="137160" rtlCol="0" anchor="ctr"/>
          <a:lstStyle>
            <a:defPPr>
              <a:defRPr lang="en-US"/>
            </a:defPPr>
            <a:lvl1pPr marR="0" lvl="0" indent="0" fontAlgn="auto">
              <a:lnSpc>
                <a:spcPct val="100000"/>
              </a:lnSpc>
              <a:spcBef>
                <a:spcPts val="0"/>
              </a:spcBef>
              <a:spcAft>
                <a:spcPts val="0"/>
              </a:spcAft>
              <a:buClrTx/>
              <a:buSzTx/>
              <a:buFontTx/>
              <a:buNone/>
              <a:tabLst/>
              <a:defRPr kumimoji="0" sz="2000" b="0" i="0" u="none" strike="noStrike" cap="none" spc="0" normalizeH="0" baseline="0">
                <a:ln>
                  <a:noFill/>
                </a:ln>
                <a:solidFill>
                  <a:schemeClr val="bg1"/>
                </a:solidFill>
                <a:effectLst/>
                <a:uLnTx/>
                <a:uFillTx/>
                <a:latin typeface="+mj-lt"/>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white"/>
              </a:solidFill>
              <a:effectLst/>
              <a:uLnTx/>
              <a:uFillTx/>
              <a:latin typeface="Segoe UI Semibold"/>
              <a:ea typeface="+mn-ea"/>
              <a:cs typeface="+mn-cs"/>
            </a:endParaRPr>
          </a:p>
        </p:txBody>
      </p:sp>
      <p:pic>
        <p:nvPicPr>
          <p:cNvPr id="27" name="Picture 26">
            <a:extLst>
              <a:ext uri="{FF2B5EF4-FFF2-40B4-BE49-F238E27FC236}">
                <a16:creationId xmlns:a16="http://schemas.microsoft.com/office/drawing/2014/main" id="{46F058B5-45A1-F816-665F-A7E56A0D705B}"/>
              </a:ext>
              <a:ext uri="{C183D7F6-B498-43B3-948B-1728B52AA6E4}">
                <adec:decorative xmlns:adec="http://schemas.microsoft.com/office/drawing/2017/decorative" val="1"/>
              </a:ext>
            </a:extLst>
          </p:cNvPr>
          <p:cNvPicPr>
            <a:picLocks noChangeAspect="1"/>
          </p:cNvPicPr>
          <p:nvPr/>
        </p:nvPicPr>
        <p:blipFill>
          <a:blip r:embed="rId4" cstate="screen">
            <a:extLst>
              <a:ext uri="{28A0092B-C50C-407E-A947-70E740481C1C}">
                <a14:useLocalDpi xmlns:a14="http://schemas.microsoft.com/office/drawing/2010/main"/>
              </a:ext>
            </a:extLst>
          </a:blip>
          <a:srcRect/>
          <a:stretch>
            <a:fillRect/>
          </a:stretch>
        </p:blipFill>
        <p:spPr>
          <a:xfrm flipV="1">
            <a:off x="8564811" y="4477657"/>
            <a:ext cx="3627189" cy="2380343"/>
          </a:xfrm>
          <a:prstGeom prst="rect">
            <a:avLst/>
          </a:prstGeom>
        </p:spPr>
      </p:pic>
      <p:sp>
        <p:nvSpPr>
          <p:cNvPr id="59" name="TextBox 58">
            <a:extLst>
              <a:ext uri="{FF2B5EF4-FFF2-40B4-BE49-F238E27FC236}">
                <a16:creationId xmlns:a16="http://schemas.microsoft.com/office/drawing/2014/main" id="{5D828CBA-2DAB-9EA7-E281-4EEE1DE2F3A8}"/>
              </a:ext>
              <a:ext uri="{C183D7F6-B498-43B3-948B-1728B52AA6E4}">
                <adec:decorative xmlns:adec="http://schemas.microsoft.com/office/drawing/2017/decorative" val="1"/>
              </a:ext>
            </a:extLst>
          </p:cNvPr>
          <p:cNvSpPr txBox="1"/>
          <p:nvPr/>
        </p:nvSpPr>
        <p:spPr>
          <a:xfrm>
            <a:off x="3635693" y="5326277"/>
            <a:ext cx="2090057" cy="182880"/>
          </a:xfrm>
          <a:prstGeom prst="roundRect">
            <a:avLst>
              <a:gd name="adj" fmla="val 50000"/>
            </a:avLst>
          </a:prstGeom>
          <a:gradFill flip="none" rotWithShape="1">
            <a:gsLst>
              <a:gs pos="0">
                <a:srgbClr val="0078D4"/>
              </a:gs>
              <a:gs pos="100000">
                <a:srgbClr val="C53FCC"/>
              </a:gs>
            </a:gsLst>
            <a:lin ang="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lIns="182880" tIns="137160" rIns="182880" bIns="137160" rtlCol="0" anchor="ctr"/>
          <a:lstStyle>
            <a:defPPr>
              <a:defRPr lang="en-US"/>
            </a:defPPr>
            <a:lvl1pPr marR="0" lvl="0" indent="0" fontAlgn="auto">
              <a:lnSpc>
                <a:spcPct val="100000"/>
              </a:lnSpc>
              <a:spcBef>
                <a:spcPts val="0"/>
              </a:spcBef>
              <a:spcAft>
                <a:spcPts val="0"/>
              </a:spcAft>
              <a:buClrTx/>
              <a:buSzTx/>
              <a:buFontTx/>
              <a:buNone/>
              <a:tabLst/>
              <a:defRPr kumimoji="0" sz="2000" b="0" i="0" u="none" strike="noStrike" cap="none" spc="0" normalizeH="0" baseline="0">
                <a:ln>
                  <a:noFill/>
                </a:ln>
                <a:solidFill>
                  <a:schemeClr val="bg1"/>
                </a:solidFill>
                <a:effectLst/>
                <a:uLnTx/>
                <a:uFillTx/>
                <a:latin typeface="+mj-lt"/>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white"/>
              </a:solidFill>
              <a:effectLst/>
              <a:uLnTx/>
              <a:uFillTx/>
              <a:latin typeface="Segoe UI Semibold"/>
              <a:ea typeface="+mn-ea"/>
              <a:cs typeface="+mn-cs"/>
            </a:endParaRPr>
          </a:p>
        </p:txBody>
      </p:sp>
      <p:sp>
        <p:nvSpPr>
          <p:cNvPr id="60" name="TextBox 59">
            <a:extLst>
              <a:ext uri="{FF2B5EF4-FFF2-40B4-BE49-F238E27FC236}">
                <a16:creationId xmlns:a16="http://schemas.microsoft.com/office/drawing/2014/main" id="{AE75D421-EB3E-D30F-E7F5-DBAAE9C78507}"/>
              </a:ext>
              <a:ext uri="{C183D7F6-B498-43B3-948B-1728B52AA6E4}">
                <adec:decorative xmlns:adec="http://schemas.microsoft.com/office/drawing/2017/decorative" val="1"/>
              </a:ext>
            </a:extLst>
          </p:cNvPr>
          <p:cNvSpPr txBox="1"/>
          <p:nvPr/>
        </p:nvSpPr>
        <p:spPr>
          <a:xfrm>
            <a:off x="6466251" y="5326277"/>
            <a:ext cx="2090057" cy="182880"/>
          </a:xfrm>
          <a:prstGeom prst="roundRect">
            <a:avLst>
              <a:gd name="adj" fmla="val 50000"/>
            </a:avLst>
          </a:prstGeom>
          <a:gradFill flip="none" rotWithShape="1">
            <a:gsLst>
              <a:gs pos="0">
                <a:srgbClr val="0078D4"/>
              </a:gs>
              <a:gs pos="100000">
                <a:srgbClr val="C53FCC"/>
              </a:gs>
            </a:gsLst>
            <a:lin ang="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lIns="182880" tIns="137160" rIns="182880" bIns="137160" rtlCol="0" anchor="ctr"/>
          <a:lstStyle>
            <a:defPPr>
              <a:defRPr lang="en-US"/>
            </a:defPPr>
            <a:lvl1pPr marR="0" lvl="0" indent="0" fontAlgn="auto">
              <a:lnSpc>
                <a:spcPct val="100000"/>
              </a:lnSpc>
              <a:spcBef>
                <a:spcPts val="0"/>
              </a:spcBef>
              <a:spcAft>
                <a:spcPts val="0"/>
              </a:spcAft>
              <a:buClrTx/>
              <a:buSzTx/>
              <a:buFontTx/>
              <a:buNone/>
              <a:tabLst/>
              <a:defRPr kumimoji="0" sz="2000" b="0" i="0" u="none" strike="noStrike" cap="none" spc="0" normalizeH="0" baseline="0">
                <a:ln>
                  <a:noFill/>
                </a:ln>
                <a:solidFill>
                  <a:schemeClr val="bg1"/>
                </a:solidFill>
                <a:effectLst/>
                <a:uLnTx/>
                <a:uFillTx/>
                <a:latin typeface="+mj-lt"/>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white"/>
              </a:solidFill>
              <a:effectLst/>
              <a:uLnTx/>
              <a:uFillTx/>
              <a:latin typeface="Segoe UI Semibold"/>
              <a:ea typeface="+mn-ea"/>
              <a:cs typeface="+mn-cs"/>
            </a:endParaRPr>
          </a:p>
        </p:txBody>
      </p:sp>
      <p:sp>
        <p:nvSpPr>
          <p:cNvPr id="61" name="TextBox 60">
            <a:extLst>
              <a:ext uri="{FF2B5EF4-FFF2-40B4-BE49-F238E27FC236}">
                <a16:creationId xmlns:a16="http://schemas.microsoft.com/office/drawing/2014/main" id="{8C7F3A26-8FE2-D5F9-5229-8E599864971E}"/>
              </a:ext>
              <a:ext uri="{C183D7F6-B498-43B3-948B-1728B52AA6E4}">
                <adec:decorative xmlns:adec="http://schemas.microsoft.com/office/drawing/2017/decorative" val="1"/>
              </a:ext>
            </a:extLst>
          </p:cNvPr>
          <p:cNvSpPr txBox="1"/>
          <p:nvPr/>
        </p:nvSpPr>
        <p:spPr>
          <a:xfrm>
            <a:off x="9296809" y="5326277"/>
            <a:ext cx="2090057" cy="182880"/>
          </a:xfrm>
          <a:prstGeom prst="roundRect">
            <a:avLst>
              <a:gd name="adj" fmla="val 50000"/>
            </a:avLst>
          </a:prstGeom>
          <a:gradFill flip="none" rotWithShape="1">
            <a:gsLst>
              <a:gs pos="0">
                <a:srgbClr val="0078D4"/>
              </a:gs>
              <a:gs pos="100000">
                <a:srgbClr val="C53FCC"/>
              </a:gs>
            </a:gsLst>
            <a:lin ang="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lIns="182880" tIns="137160" rIns="182880" bIns="137160" rtlCol="0" anchor="ctr"/>
          <a:lstStyle>
            <a:defPPr>
              <a:defRPr lang="en-US"/>
            </a:defPPr>
            <a:lvl1pPr marR="0" lvl="0" indent="0" fontAlgn="auto">
              <a:lnSpc>
                <a:spcPct val="100000"/>
              </a:lnSpc>
              <a:spcBef>
                <a:spcPts val="0"/>
              </a:spcBef>
              <a:spcAft>
                <a:spcPts val="0"/>
              </a:spcAft>
              <a:buClrTx/>
              <a:buSzTx/>
              <a:buFontTx/>
              <a:buNone/>
              <a:tabLst/>
              <a:defRPr kumimoji="0" sz="2000" b="0" i="0" u="none" strike="noStrike" cap="none" spc="0" normalizeH="0" baseline="0">
                <a:ln>
                  <a:noFill/>
                </a:ln>
                <a:solidFill>
                  <a:schemeClr val="bg1"/>
                </a:solidFill>
                <a:effectLst/>
                <a:uLnTx/>
                <a:uFillTx/>
                <a:latin typeface="+mj-lt"/>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white"/>
              </a:solidFill>
              <a:effectLst/>
              <a:uLnTx/>
              <a:uFillTx/>
              <a:latin typeface="Segoe UI Semibold"/>
              <a:ea typeface="+mn-ea"/>
              <a:cs typeface="+mn-cs"/>
            </a:endParaRPr>
          </a:p>
        </p:txBody>
      </p:sp>
      <p:sp>
        <p:nvSpPr>
          <p:cNvPr id="10" name="Title 9">
            <a:extLst>
              <a:ext uri="{FF2B5EF4-FFF2-40B4-BE49-F238E27FC236}">
                <a16:creationId xmlns:a16="http://schemas.microsoft.com/office/drawing/2014/main" id="{18210C43-2522-2414-6455-3DCFA124DD6E}"/>
              </a:ext>
              <a:ext uri="{C183D7F6-B498-43B3-948B-1728B52AA6E4}">
                <adec:decorative xmlns:adec="http://schemas.microsoft.com/office/drawing/2017/decorative" val="0"/>
              </a:ext>
            </a:extLst>
          </p:cNvPr>
          <p:cNvSpPr>
            <a:spLocks noGrp="1"/>
          </p:cNvSpPr>
          <p:nvPr>
            <p:ph type="title"/>
          </p:nvPr>
        </p:nvSpPr>
        <p:spPr>
          <a:xfrm>
            <a:off x="511628" y="574386"/>
            <a:ext cx="11185072" cy="498598"/>
          </a:xfrm>
        </p:spPr>
        <p:txBody>
          <a:bodyPr/>
          <a:lstStyle/>
          <a:p>
            <a:r>
              <a:rPr lang="en-US"/>
              <a:t>Attendee requirements</a:t>
            </a:r>
            <a:endParaRPr lang="en-GB"/>
          </a:p>
        </p:txBody>
      </p:sp>
      <p:sp>
        <p:nvSpPr>
          <p:cNvPr id="12" name="Rectangle: Rounded Corners 50">
            <a:extLst>
              <a:ext uri="{FF2B5EF4-FFF2-40B4-BE49-F238E27FC236}">
                <a16:creationId xmlns:a16="http://schemas.microsoft.com/office/drawing/2014/main" id="{5D0DB2FC-1CA2-9277-8373-88B8AEDDAA4B}"/>
              </a:ext>
              <a:ext uri="{C183D7F6-B498-43B3-948B-1728B52AA6E4}">
                <adec:decorative xmlns:adec="http://schemas.microsoft.com/office/drawing/2017/decorative" val="0"/>
              </a:ext>
            </a:extLst>
          </p:cNvPr>
          <p:cNvSpPr>
            <a:spLocks/>
          </p:cNvSpPr>
          <p:nvPr/>
        </p:nvSpPr>
        <p:spPr bwMode="auto">
          <a:xfrm>
            <a:off x="503464" y="1552043"/>
            <a:ext cx="2693398" cy="3867047"/>
          </a:xfrm>
          <a:prstGeom prst="roundRect">
            <a:avLst>
              <a:gd name="adj" fmla="val 4629"/>
            </a:avLst>
          </a:prstGeom>
          <a:solidFill>
            <a:schemeClr val="bg1"/>
          </a:solidFill>
          <a:ln w="6350">
            <a:noFill/>
          </a:ln>
          <a:effectLst>
            <a:outerShdw blurRad="228600" dist="63500" dir="2700000" algn="ctr" rotWithShape="0">
              <a:srgbClr val="000000">
                <a:alpha val="1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554480" rIns="182880" bIns="137160" numCol="1" spcCol="0" rtlCol="0" fromWordArt="0" anchor="t" anchorCtr="0" forceAA="0" compatLnSpc="1">
            <a:prstTxWarp prst="textNoShape">
              <a:avLst/>
            </a:prstTxWarp>
            <a:noAutofit/>
          </a:bodyPr>
          <a:lstStyle/>
          <a:p>
            <a:pPr algn="ctr">
              <a:spcBef>
                <a:spcPct val="0"/>
              </a:spcBef>
              <a:spcAft>
                <a:spcPts val="1200"/>
              </a:spcAft>
              <a:tabLst>
                <a:tab pos="457200" algn="l"/>
              </a:tabLst>
              <a:defRPr/>
            </a:pPr>
            <a:r>
              <a:rPr lang="en-US" sz="1600" kern="0" dirty="0">
                <a:solidFill>
                  <a:prstClr val="black"/>
                </a:solidFill>
                <a:latin typeface="Segoe UI"/>
                <a:cs typeface="Segoe UI"/>
              </a:rPr>
              <a:t>Each group will be comprised of </a:t>
            </a:r>
            <a:r>
              <a:rPr lang="en-US" sz="1600" kern="0" dirty="0">
                <a:solidFill>
                  <a:prstClr val="black"/>
                </a:solidFill>
                <a:latin typeface="Segoe UI Semibold" panose="020B0702040204020203" pitchFamily="34" charset="0"/>
                <a:cs typeface="Segoe UI Semibold" panose="020B0702040204020203" pitchFamily="34" charset="0"/>
              </a:rPr>
              <a:t>3-4 people.</a:t>
            </a:r>
          </a:p>
          <a:p>
            <a:pPr algn="ctr">
              <a:spcBef>
                <a:spcPct val="0"/>
              </a:spcBef>
              <a:spcAft>
                <a:spcPts val="1200"/>
              </a:spcAft>
              <a:tabLst>
                <a:tab pos="457200" algn="l"/>
              </a:tabLst>
              <a:defRPr/>
            </a:pPr>
            <a:r>
              <a:rPr lang="en-US" sz="1600" kern="0" dirty="0">
                <a:solidFill>
                  <a:prstClr val="black"/>
                </a:solidFill>
                <a:latin typeface="Segoe UI Semibold" panose="020B0702040204020203" pitchFamily="34" charset="0"/>
                <a:cs typeface="Segoe UI Semibold" panose="020B0702040204020203" pitchFamily="34" charset="0"/>
              </a:rPr>
              <a:t>Audience: </a:t>
            </a:r>
            <a:r>
              <a:rPr lang="en-US" sz="1600" kern="0" dirty="0">
                <a:solidFill>
                  <a:prstClr val="black"/>
                </a:solidFill>
                <a:latin typeface="Segoe UI"/>
                <a:cs typeface="Segoe UI"/>
              </a:rPr>
              <a:t>BDMs recommended – leaders from HR, Sales, Marketing, Finance, etc.</a:t>
            </a:r>
            <a:endParaRPr lang="en-US" dirty="0">
              <a:solidFill>
                <a:prstClr val="black"/>
              </a:solidFill>
              <a:cs typeface="Segoe UI"/>
            </a:endParaRPr>
          </a:p>
        </p:txBody>
      </p:sp>
      <p:sp>
        <p:nvSpPr>
          <p:cNvPr id="9" name="Rectangle: Rounded Corners 50">
            <a:extLst>
              <a:ext uri="{FF2B5EF4-FFF2-40B4-BE49-F238E27FC236}">
                <a16:creationId xmlns:a16="http://schemas.microsoft.com/office/drawing/2014/main" id="{3F12661F-F227-8503-9EA3-4039FE0D8AD4}"/>
              </a:ext>
              <a:ext uri="{C183D7F6-B498-43B3-948B-1728B52AA6E4}">
                <adec:decorative xmlns:adec="http://schemas.microsoft.com/office/drawing/2017/decorative" val="0"/>
              </a:ext>
            </a:extLst>
          </p:cNvPr>
          <p:cNvSpPr>
            <a:spLocks/>
          </p:cNvSpPr>
          <p:nvPr/>
        </p:nvSpPr>
        <p:spPr bwMode="auto">
          <a:xfrm>
            <a:off x="3334022" y="1552043"/>
            <a:ext cx="2693398" cy="3867047"/>
          </a:xfrm>
          <a:prstGeom prst="roundRect">
            <a:avLst>
              <a:gd name="adj" fmla="val 4629"/>
            </a:avLst>
          </a:prstGeom>
          <a:solidFill>
            <a:schemeClr val="bg1"/>
          </a:solidFill>
          <a:ln w="6350">
            <a:noFill/>
          </a:ln>
          <a:effectLst>
            <a:outerShdw blurRad="228600" dist="63500" dir="2700000" algn="ctr" rotWithShape="0">
              <a:srgbClr val="000000">
                <a:alpha val="1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554480" rIns="182880" bIns="137160" numCol="1" spcCol="0" rtlCol="0" fromWordArt="0" anchor="t"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ts val="1200"/>
              </a:spcAft>
              <a:buClrTx/>
              <a:buSzTx/>
              <a:buFontTx/>
              <a:buNone/>
              <a:tabLst>
                <a:tab pos="457200" algn="l"/>
              </a:tabLst>
              <a:defRPr/>
            </a:pPr>
            <a:r>
              <a:rPr kumimoji="0" lang="en-US" sz="1600" b="0" i="0" u="none" strike="noStrike" kern="0" cap="none" spc="0" normalizeH="0" baseline="0" noProof="0" dirty="0">
                <a:ln>
                  <a:noFill/>
                </a:ln>
                <a:solidFill>
                  <a:prstClr val="black"/>
                </a:solidFill>
                <a:effectLst/>
                <a:uLnTx/>
                <a:uFillTx/>
                <a:latin typeface="Segoe UI"/>
                <a:ea typeface="+mn-ea"/>
                <a:cs typeface="+mn-cs"/>
              </a:rPr>
              <a:t>Attendees need to bring their own laptops and </a:t>
            </a:r>
            <a:r>
              <a:rPr kumimoji="0" lang="en-US" sz="1600" b="0" i="0" u="none" strike="noStrike" kern="0" cap="none" spc="0" normalizeH="0" baseline="0" noProof="0" dirty="0">
                <a:ln>
                  <a:noFill/>
                </a:ln>
                <a:solidFill>
                  <a:prstClr val="black"/>
                </a:solidFill>
                <a:effectLst/>
                <a:uLnTx/>
                <a:uFillTx/>
                <a:latin typeface="Segoe UI Semibold"/>
                <a:ea typeface="+mn-ea"/>
                <a:cs typeface="+mn-cs"/>
              </a:rPr>
              <a:t>ideally</a:t>
            </a:r>
            <a:r>
              <a:rPr kumimoji="0" lang="en-US" sz="1600" b="0" i="0" u="none" strike="noStrike" kern="0" cap="none" spc="0" normalizeH="0" baseline="0" noProof="0" dirty="0">
                <a:ln>
                  <a:noFill/>
                </a:ln>
                <a:solidFill>
                  <a:prstClr val="black"/>
                </a:solidFill>
                <a:effectLst/>
                <a:uLnTx/>
                <a:uFillTx/>
                <a:latin typeface="Segoe UI"/>
                <a:ea typeface="+mn-ea"/>
                <a:cs typeface="+mn-cs"/>
              </a:rPr>
              <a:t> need to be Microsoft 365 Copilot licensed. At minimum, one person in each group should have</a:t>
            </a:r>
            <a:br>
              <a:rPr kumimoji="0" lang="en-US" sz="1600" b="0" i="0" u="none" strike="noStrike" kern="0" cap="none" spc="0" normalizeH="0" baseline="0" noProof="0" dirty="0">
                <a:ln>
                  <a:noFill/>
                </a:ln>
                <a:solidFill>
                  <a:prstClr val="black"/>
                </a:solidFill>
                <a:effectLst/>
                <a:uLnTx/>
                <a:uFillTx/>
                <a:latin typeface="Segoe UI"/>
                <a:ea typeface="+mn-ea"/>
                <a:cs typeface="+mn-cs"/>
              </a:rPr>
            </a:br>
            <a:r>
              <a:rPr kumimoji="0" lang="en-US" sz="1600" b="0" i="0" u="none" strike="noStrike" kern="0" cap="none" spc="0" normalizeH="0" baseline="0" noProof="0" dirty="0">
                <a:ln>
                  <a:noFill/>
                </a:ln>
                <a:solidFill>
                  <a:prstClr val="black"/>
                </a:solidFill>
                <a:effectLst/>
                <a:uLnTx/>
                <a:uFillTx/>
                <a:latin typeface="Segoe UI"/>
                <a:ea typeface="+mn-ea"/>
                <a:cs typeface="+mn-cs"/>
              </a:rPr>
              <a:t>a license</a:t>
            </a:r>
          </a:p>
        </p:txBody>
      </p:sp>
      <p:sp>
        <p:nvSpPr>
          <p:cNvPr id="11" name="Rectangle: Rounded Corners 50">
            <a:extLst>
              <a:ext uri="{FF2B5EF4-FFF2-40B4-BE49-F238E27FC236}">
                <a16:creationId xmlns:a16="http://schemas.microsoft.com/office/drawing/2014/main" id="{34393473-FF96-B345-DA02-176BE7D7840A}"/>
              </a:ext>
              <a:ext uri="{C183D7F6-B498-43B3-948B-1728B52AA6E4}">
                <adec:decorative xmlns:adec="http://schemas.microsoft.com/office/drawing/2017/decorative" val="0"/>
              </a:ext>
            </a:extLst>
          </p:cNvPr>
          <p:cNvSpPr>
            <a:spLocks/>
          </p:cNvSpPr>
          <p:nvPr/>
        </p:nvSpPr>
        <p:spPr bwMode="auto">
          <a:xfrm>
            <a:off x="6164580" y="1552043"/>
            <a:ext cx="2693398" cy="3867047"/>
          </a:xfrm>
          <a:prstGeom prst="roundRect">
            <a:avLst>
              <a:gd name="adj" fmla="val 4629"/>
            </a:avLst>
          </a:prstGeom>
          <a:solidFill>
            <a:schemeClr val="bg1"/>
          </a:solidFill>
          <a:ln w="6350">
            <a:noFill/>
          </a:ln>
          <a:effectLst>
            <a:outerShdw blurRad="228600" dist="63500" dir="2700000" algn="ctr" rotWithShape="0">
              <a:srgbClr val="000000">
                <a:alpha val="1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554480" rIns="182880" bIns="137160" numCol="1" spcCol="0" rtlCol="0" fromWordArt="0" anchor="t"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ts val="1200"/>
              </a:spcAft>
              <a:buClrTx/>
              <a:buSzTx/>
              <a:buFontTx/>
              <a:buNone/>
              <a:tabLst>
                <a:tab pos="457200" algn="l"/>
              </a:tabLst>
              <a:defRPr/>
            </a:pPr>
            <a:r>
              <a:rPr kumimoji="0" lang="en-US" sz="1600" b="0" i="0" u="none" strike="noStrike" kern="0" cap="none" spc="0" normalizeH="0" baseline="0" noProof="0" dirty="0">
                <a:ln>
                  <a:noFill/>
                </a:ln>
                <a:solidFill>
                  <a:prstClr val="black"/>
                </a:solidFill>
                <a:effectLst/>
                <a:uLnTx/>
                <a:uFillTx/>
                <a:latin typeface="Segoe UI"/>
                <a:ea typeface="+mn-ea"/>
                <a:cs typeface="+mn-cs"/>
              </a:rPr>
              <a:t>Attendees need to have the </a:t>
            </a:r>
            <a:r>
              <a:rPr kumimoji="0" lang="en-US" sz="1600" b="0" i="0" u="none" strike="noStrike" kern="0" cap="none" spc="0" normalizeH="0" baseline="0" noProof="0" dirty="0">
                <a:ln>
                  <a:noFill/>
                </a:ln>
                <a:solidFill>
                  <a:prstClr val="black"/>
                </a:solidFill>
                <a:effectLst/>
                <a:uLnTx/>
                <a:uFillTx/>
                <a:latin typeface="Segoe UI Semibold" panose="020B0702040204020203" pitchFamily="34" charset="0"/>
                <a:cs typeface="Segoe UI Semibold" panose="020B0702040204020203" pitchFamily="34" charset="0"/>
              </a:rPr>
              <a:t>“Create Agent” </a:t>
            </a:r>
            <a:r>
              <a:rPr kumimoji="0" lang="en-US" sz="1600" b="0" i="0" u="none" strike="noStrike" kern="0" cap="none" spc="0" normalizeH="0" baseline="0" noProof="0" dirty="0">
                <a:ln>
                  <a:noFill/>
                </a:ln>
                <a:solidFill>
                  <a:prstClr val="black"/>
                </a:solidFill>
                <a:effectLst/>
                <a:uLnTx/>
                <a:uFillTx/>
                <a:latin typeface="Segoe UI"/>
                <a:ea typeface="+mn-ea"/>
                <a:cs typeface="+mn-cs"/>
              </a:rPr>
              <a:t>functionality available, and access to </a:t>
            </a:r>
            <a:r>
              <a:rPr kumimoji="0" lang="en-US" sz="1600" b="0" i="0" u="none" strike="noStrike" kern="0" cap="none" spc="0" normalizeH="0" baseline="0" noProof="0" dirty="0">
                <a:ln>
                  <a:noFill/>
                </a:ln>
                <a:solidFill>
                  <a:prstClr val="black"/>
                </a:solidFill>
                <a:effectLst/>
                <a:uLnTx/>
                <a:uFillTx/>
                <a:latin typeface="Segoe UI Semibold" panose="020B0702040204020203" pitchFamily="34" charset="0"/>
                <a:cs typeface="Segoe UI Semibold" panose="020B0702040204020203" pitchFamily="34" charset="0"/>
              </a:rPr>
              <a:t>Researcher</a:t>
            </a:r>
          </a:p>
        </p:txBody>
      </p:sp>
      <p:sp>
        <p:nvSpPr>
          <p:cNvPr id="7" name="Rectangle: Rounded Corners 50">
            <a:extLst>
              <a:ext uri="{FF2B5EF4-FFF2-40B4-BE49-F238E27FC236}">
                <a16:creationId xmlns:a16="http://schemas.microsoft.com/office/drawing/2014/main" id="{78DF8A7A-8E8E-4807-F78C-76DA52E887C4}"/>
              </a:ext>
              <a:ext uri="{C183D7F6-B498-43B3-948B-1728B52AA6E4}">
                <adec:decorative xmlns:adec="http://schemas.microsoft.com/office/drawing/2017/decorative" val="0"/>
              </a:ext>
            </a:extLst>
          </p:cNvPr>
          <p:cNvSpPr>
            <a:spLocks/>
          </p:cNvSpPr>
          <p:nvPr/>
        </p:nvSpPr>
        <p:spPr bwMode="auto">
          <a:xfrm>
            <a:off x="8995138" y="1552043"/>
            <a:ext cx="2693398" cy="3867047"/>
          </a:xfrm>
          <a:prstGeom prst="roundRect">
            <a:avLst>
              <a:gd name="adj" fmla="val 4629"/>
            </a:avLst>
          </a:prstGeom>
          <a:solidFill>
            <a:schemeClr val="bg1"/>
          </a:solidFill>
          <a:ln w="6350">
            <a:noFill/>
          </a:ln>
          <a:effectLst>
            <a:outerShdw blurRad="228600" dist="63500" dir="2700000" algn="ctr" rotWithShape="0">
              <a:srgbClr val="000000">
                <a:alpha val="1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554480" rIns="182880" bIns="137160" numCol="1" spcCol="0" rtlCol="0" fromWordArt="0" anchor="t"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ts val="1200"/>
              </a:spcAft>
              <a:buClrTx/>
              <a:buSzTx/>
              <a:buFontTx/>
              <a:buNone/>
              <a:tabLst>
                <a:tab pos="457200" algn="l"/>
              </a:tabLst>
              <a:defRPr/>
            </a:pPr>
            <a:r>
              <a:rPr kumimoji="0" lang="en-US" sz="1600" b="0" i="0" u="none" strike="noStrike" kern="0" cap="none" spc="0" normalizeH="0" baseline="0" noProof="0" dirty="0">
                <a:ln>
                  <a:noFill/>
                </a:ln>
                <a:solidFill>
                  <a:prstClr val="black"/>
                </a:solidFill>
                <a:effectLst/>
                <a:uLnTx/>
                <a:uFillTx/>
                <a:latin typeface="Segoe UI Semibold"/>
                <a:ea typeface="+mn-ea"/>
                <a:cs typeface="+mn-cs"/>
              </a:rPr>
              <a:t>If non-licensed </a:t>
            </a:r>
            <a:br>
              <a:rPr kumimoji="0" lang="en-US" sz="1600" b="0" i="0" u="none" strike="noStrike" kern="0" cap="none" spc="0" normalizeH="0" baseline="0" noProof="0" dirty="0">
                <a:ln>
                  <a:noFill/>
                </a:ln>
                <a:solidFill>
                  <a:prstClr val="black"/>
                </a:solidFill>
                <a:effectLst/>
                <a:uLnTx/>
                <a:uFillTx/>
                <a:latin typeface="Segoe UI Semibold"/>
                <a:ea typeface="+mn-ea"/>
                <a:cs typeface="+mn-cs"/>
              </a:rPr>
            </a:br>
            <a:r>
              <a:rPr kumimoji="0" lang="en-US" sz="1600" b="0" i="0" u="none" strike="noStrike" kern="0" cap="none" spc="0" normalizeH="0" baseline="0" noProof="0" dirty="0">
                <a:ln>
                  <a:noFill/>
                </a:ln>
                <a:solidFill>
                  <a:prstClr val="black"/>
                </a:solidFill>
                <a:effectLst/>
                <a:uLnTx/>
                <a:uFillTx/>
                <a:latin typeface="Segoe UI Semibold"/>
                <a:ea typeface="+mn-ea"/>
                <a:cs typeface="+mn-cs"/>
              </a:rPr>
              <a:t>(Copilot </a:t>
            </a:r>
            <a:r>
              <a:rPr lang="en-US" sz="1600" kern="0" dirty="0">
                <a:solidFill>
                  <a:prstClr val="black"/>
                </a:solidFill>
                <a:latin typeface="Segoe UI Semibold"/>
              </a:rPr>
              <a:t>Basic</a:t>
            </a:r>
            <a:r>
              <a:rPr kumimoji="0" lang="en-US" sz="1600" b="0" i="0" u="none" strike="noStrike" kern="0" cap="none" spc="0" normalizeH="0" baseline="0" noProof="0" dirty="0">
                <a:ln>
                  <a:noFill/>
                </a:ln>
                <a:solidFill>
                  <a:prstClr val="black"/>
                </a:solidFill>
                <a:effectLst/>
                <a:uLnTx/>
                <a:uFillTx/>
                <a:latin typeface="Segoe UI Semibold"/>
                <a:ea typeface="+mn-ea"/>
                <a:cs typeface="+mn-cs"/>
              </a:rPr>
              <a:t>) </a:t>
            </a:r>
            <a:r>
              <a:rPr lang="en-US" sz="1600" kern="0" dirty="0">
                <a:solidFill>
                  <a:prstClr val="black"/>
                </a:solidFill>
                <a:latin typeface="Segoe UI Semibold"/>
              </a:rPr>
              <a:t>users</a:t>
            </a:r>
            <a:r>
              <a:rPr kumimoji="0" lang="en-US" sz="1600" b="0" i="0" u="none" strike="noStrike" kern="0" cap="none" spc="0" normalizeH="0" baseline="0" noProof="0" dirty="0">
                <a:ln>
                  <a:noFill/>
                </a:ln>
                <a:solidFill>
                  <a:prstClr val="black"/>
                </a:solidFill>
                <a:effectLst/>
                <a:uLnTx/>
                <a:uFillTx/>
                <a:latin typeface="Segoe UI Semibold"/>
                <a:ea typeface="+mn-ea"/>
                <a:cs typeface="+mn-cs"/>
              </a:rPr>
              <a:t> are </a:t>
            </a:r>
            <a:r>
              <a:rPr lang="en-US" sz="1600" kern="0" dirty="0">
                <a:solidFill>
                  <a:prstClr val="black"/>
                </a:solidFill>
                <a:latin typeface="Segoe UI Semibold"/>
              </a:rPr>
              <a:t>attending</a:t>
            </a:r>
            <a:r>
              <a:rPr kumimoji="0" lang="en-US" sz="1600" b="0" i="0" u="none" strike="noStrike" kern="0" cap="none" spc="0" normalizeH="0" baseline="0" noProof="0" dirty="0">
                <a:ln>
                  <a:noFill/>
                </a:ln>
                <a:solidFill>
                  <a:prstClr val="black"/>
                </a:solidFill>
                <a:effectLst/>
                <a:uLnTx/>
                <a:uFillTx/>
                <a:latin typeface="Segoe UI"/>
                <a:ea typeface="+mn-ea"/>
                <a:cs typeface="+mn-cs"/>
              </a:rPr>
              <a:t>, leverage the guidance available on the </a:t>
            </a:r>
            <a:br>
              <a:rPr kumimoji="0" lang="en-US" sz="1600" b="0" i="0" u="none" strike="noStrike" kern="0" cap="none" spc="0" normalizeH="0" baseline="0" noProof="0" dirty="0">
                <a:ln>
                  <a:noFill/>
                </a:ln>
                <a:solidFill>
                  <a:prstClr val="black"/>
                </a:solidFill>
                <a:effectLst/>
                <a:uLnTx/>
                <a:uFillTx/>
                <a:latin typeface="Segoe UI"/>
                <a:ea typeface="+mn-ea"/>
                <a:cs typeface="+mn-cs"/>
              </a:rPr>
            </a:br>
            <a:r>
              <a:rPr kumimoji="0" lang="en-US" sz="1600" b="0" i="0" u="none" strike="noStrike" kern="0" cap="none" spc="0" normalizeH="0" baseline="0" noProof="0" dirty="0">
                <a:ln>
                  <a:noFill/>
                </a:ln>
                <a:solidFill>
                  <a:srgbClr val="0078D4"/>
                </a:solidFill>
                <a:effectLst/>
                <a:uLnTx/>
                <a:uFillTx/>
                <a:latin typeface="Segoe UI Semibold"/>
                <a:ea typeface="+mn-ea"/>
                <a:cs typeface="+mn-cs"/>
                <a:hlinkClick r:id="rId5" action="ppaction://hlinksldjump">
                  <a:extLst>
                    <a:ext uri="{A12FA001-AC4F-418D-AE19-62706E023703}">
                      <ahyp:hlinkClr xmlns:ahyp="http://schemas.microsoft.com/office/drawing/2018/hyperlinkcolor" val="tx"/>
                    </a:ext>
                  </a:extLst>
                </a:hlinkClick>
              </a:rPr>
              <a:t>Added event considerations</a:t>
            </a:r>
            <a:r>
              <a:rPr kumimoji="0" lang="en-US" sz="1600" b="0" i="0" u="none" strike="noStrike" kern="0" cap="none" spc="0" normalizeH="0" baseline="0" noProof="0" dirty="0">
                <a:ln>
                  <a:noFill/>
                </a:ln>
                <a:solidFill>
                  <a:srgbClr val="0078D4"/>
                </a:solidFill>
                <a:effectLst/>
                <a:uLnTx/>
                <a:uFillTx/>
                <a:latin typeface="Segoe UI Semibold"/>
                <a:ea typeface="+mn-ea"/>
                <a:cs typeface="+mn-cs"/>
              </a:rPr>
              <a:t> </a:t>
            </a:r>
            <a:r>
              <a:rPr kumimoji="0" lang="en-US" sz="1600" b="0" i="0" u="none" strike="noStrike" kern="0" cap="none" spc="0" normalizeH="0" baseline="0" noProof="0" dirty="0">
                <a:ln>
                  <a:noFill/>
                </a:ln>
                <a:solidFill>
                  <a:prstClr val="black"/>
                </a:solidFill>
                <a:effectLst/>
                <a:uLnTx/>
                <a:uFillTx/>
                <a:latin typeface="Segoe UI"/>
                <a:ea typeface="+mn-ea"/>
                <a:cs typeface="+mn-cs"/>
              </a:rPr>
              <a:t>slide</a:t>
            </a:r>
          </a:p>
        </p:txBody>
      </p:sp>
      <p:grpSp>
        <p:nvGrpSpPr>
          <p:cNvPr id="37" name="Group 36">
            <a:extLst>
              <a:ext uri="{FF2B5EF4-FFF2-40B4-BE49-F238E27FC236}">
                <a16:creationId xmlns:a16="http://schemas.microsoft.com/office/drawing/2014/main" id="{01B742F0-1347-A027-4711-624956454CAE}"/>
              </a:ext>
              <a:ext uri="{C183D7F6-B498-43B3-948B-1728B52AA6E4}">
                <adec:decorative xmlns:adec="http://schemas.microsoft.com/office/drawing/2017/decorative" val="1"/>
              </a:ext>
            </a:extLst>
          </p:cNvPr>
          <p:cNvGrpSpPr/>
          <p:nvPr/>
        </p:nvGrpSpPr>
        <p:grpSpPr>
          <a:xfrm>
            <a:off x="1422854" y="1937352"/>
            <a:ext cx="854618" cy="854618"/>
            <a:chOff x="1525725" y="1893810"/>
            <a:chExt cx="854618" cy="854618"/>
          </a:xfrm>
        </p:grpSpPr>
        <p:sp>
          <p:nvSpPr>
            <p:cNvPr id="21" name="Oval 20">
              <a:extLst>
                <a:ext uri="{FF2B5EF4-FFF2-40B4-BE49-F238E27FC236}">
                  <a16:creationId xmlns:a16="http://schemas.microsoft.com/office/drawing/2014/main" id="{358E2AAC-3A69-FDE1-8077-B0E397119B1A}"/>
                </a:ext>
              </a:extLst>
            </p:cNvPr>
            <p:cNvSpPr>
              <a:spLocks/>
            </p:cNvSpPr>
            <p:nvPr/>
          </p:nvSpPr>
          <p:spPr bwMode="auto">
            <a:xfrm>
              <a:off x="1525725" y="1893810"/>
              <a:ext cx="854618" cy="854618"/>
            </a:xfrm>
            <a:prstGeom prst="ellipse">
              <a:avLst/>
            </a:prstGeom>
            <a:solidFill>
              <a:schemeClr val="bg1"/>
            </a:solidFill>
            <a:ln w="19050">
              <a:gradFill>
                <a:gsLst>
                  <a:gs pos="100000">
                    <a:srgbClr val="C03BC4"/>
                  </a:gs>
                  <a:gs pos="0">
                    <a:srgbClr val="0078D4"/>
                  </a:gs>
                </a:gsLst>
                <a:lin ang="0" scaled="0"/>
              </a:gradFill>
            </a:ln>
            <a:effectLst>
              <a:outerShdw blurRad="177800" dist="25400" algn="tl" rotWithShape="0">
                <a:prstClr val="black">
                  <a:alpha val="5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31" name="Graphic 31" descr="Icon of a group of three people">
              <a:extLst>
                <a:ext uri="{FF2B5EF4-FFF2-40B4-BE49-F238E27FC236}">
                  <a16:creationId xmlns:a16="http://schemas.microsoft.com/office/drawing/2014/main" id="{791E3AC1-673D-E7F0-F0F3-5247D4F56FC5}"/>
                </a:ext>
              </a:extLst>
            </p:cNvPr>
            <p:cNvSpPr/>
            <p:nvPr/>
          </p:nvSpPr>
          <p:spPr>
            <a:xfrm>
              <a:off x="1718828" y="2110279"/>
              <a:ext cx="468412" cy="421680"/>
            </a:xfrm>
            <a:custGeom>
              <a:avLst/>
              <a:gdLst>
                <a:gd name="connsiteX0" fmla="*/ 198244 w 311045"/>
                <a:gd name="connsiteY0" fmla="*/ 186583 h 280014"/>
                <a:gd name="connsiteX1" fmla="*/ 225454 w 311045"/>
                <a:gd name="connsiteY1" fmla="*/ 213793 h 280014"/>
                <a:gd name="connsiteX2" fmla="*/ 225437 w 311045"/>
                <a:gd name="connsiteY2" fmla="*/ 228752 h 280014"/>
                <a:gd name="connsiteX3" fmla="*/ 156524 w 311045"/>
                <a:gd name="connsiteY3" fmla="*/ 280014 h 280014"/>
                <a:gd name="connsiteX4" fmla="*/ 85517 w 311045"/>
                <a:gd name="connsiteY4" fmla="*/ 229342 h 280014"/>
                <a:gd name="connsiteX5" fmla="*/ 85517 w 311045"/>
                <a:gd name="connsiteY5" fmla="*/ 213793 h 280014"/>
                <a:gd name="connsiteX6" fmla="*/ 112727 w 311045"/>
                <a:gd name="connsiteY6" fmla="*/ 186583 h 280014"/>
                <a:gd name="connsiteX7" fmla="*/ 198244 w 311045"/>
                <a:gd name="connsiteY7" fmla="*/ 186583 h 280014"/>
                <a:gd name="connsiteX8" fmla="*/ 198244 w 311045"/>
                <a:gd name="connsiteY8" fmla="*/ 209906 h 280014"/>
                <a:gd name="connsiteX9" fmla="*/ 112727 w 311045"/>
                <a:gd name="connsiteY9" fmla="*/ 209906 h 280014"/>
                <a:gd name="connsiteX10" fmla="*/ 108840 w 311045"/>
                <a:gd name="connsiteY10" fmla="*/ 213793 h 280014"/>
                <a:gd name="connsiteX11" fmla="*/ 108840 w 311045"/>
                <a:gd name="connsiteY11" fmla="*/ 229342 h 280014"/>
                <a:gd name="connsiteX12" fmla="*/ 156524 w 311045"/>
                <a:gd name="connsiteY12" fmla="*/ 256692 h 280014"/>
                <a:gd name="connsiteX13" fmla="*/ 202132 w 311045"/>
                <a:gd name="connsiteY13" fmla="*/ 229373 h 280014"/>
                <a:gd name="connsiteX14" fmla="*/ 202132 w 311045"/>
                <a:gd name="connsiteY14" fmla="*/ 213793 h 280014"/>
                <a:gd name="connsiteX15" fmla="*/ 198244 w 311045"/>
                <a:gd name="connsiteY15" fmla="*/ 209906 h 280014"/>
                <a:gd name="connsiteX16" fmla="*/ 27210 w 311045"/>
                <a:gd name="connsiteY16" fmla="*/ 108840 h 280014"/>
                <a:gd name="connsiteX17" fmla="*/ 95251 w 311045"/>
                <a:gd name="connsiteY17" fmla="*/ 108842 h 280014"/>
                <a:gd name="connsiteX18" fmla="*/ 93292 w 311045"/>
                <a:gd name="connsiteY18" fmla="*/ 124389 h 280014"/>
                <a:gd name="connsiteX19" fmla="*/ 93771 w 311045"/>
                <a:gd name="connsiteY19" fmla="*/ 132152 h 280014"/>
                <a:gd name="connsiteX20" fmla="*/ 27210 w 311045"/>
                <a:gd name="connsiteY20" fmla="*/ 132163 h 280014"/>
                <a:gd name="connsiteX21" fmla="*/ 23323 w 311045"/>
                <a:gd name="connsiteY21" fmla="*/ 136050 h 280014"/>
                <a:gd name="connsiteX22" fmla="*/ 23323 w 311045"/>
                <a:gd name="connsiteY22" fmla="*/ 151599 h 280014"/>
                <a:gd name="connsiteX23" fmla="*/ 71007 w 311045"/>
                <a:gd name="connsiteY23" fmla="*/ 178949 h 280014"/>
                <a:gd name="connsiteX24" fmla="*/ 89783 w 311045"/>
                <a:gd name="connsiteY24" fmla="*/ 177747 h 280014"/>
                <a:gd name="connsiteX25" fmla="*/ 71542 w 311045"/>
                <a:gd name="connsiteY25" fmla="*/ 202259 h 280014"/>
                <a:gd name="connsiteX26" fmla="*/ 71007 w 311045"/>
                <a:gd name="connsiteY26" fmla="*/ 202272 h 280014"/>
                <a:gd name="connsiteX27" fmla="*/ 0 w 311045"/>
                <a:gd name="connsiteY27" fmla="*/ 151599 h 280014"/>
                <a:gd name="connsiteX28" fmla="*/ 0 w 311045"/>
                <a:gd name="connsiteY28" fmla="*/ 136050 h 280014"/>
                <a:gd name="connsiteX29" fmla="*/ 27210 w 311045"/>
                <a:gd name="connsiteY29" fmla="*/ 108840 h 280014"/>
                <a:gd name="connsiteX30" fmla="*/ 283762 w 311045"/>
                <a:gd name="connsiteY30" fmla="*/ 108840 h 280014"/>
                <a:gd name="connsiteX31" fmla="*/ 310972 w 311045"/>
                <a:gd name="connsiteY31" fmla="*/ 136050 h 280014"/>
                <a:gd name="connsiteX32" fmla="*/ 310955 w 311045"/>
                <a:gd name="connsiteY32" fmla="*/ 151009 h 280014"/>
                <a:gd name="connsiteX33" fmla="*/ 242042 w 311045"/>
                <a:gd name="connsiteY33" fmla="*/ 202272 h 280014"/>
                <a:gd name="connsiteX34" fmla="*/ 239425 w 311045"/>
                <a:gd name="connsiteY34" fmla="*/ 202245 h 280014"/>
                <a:gd name="connsiteX35" fmla="*/ 220484 w 311045"/>
                <a:gd name="connsiteY35" fmla="*/ 177266 h 280014"/>
                <a:gd name="connsiteX36" fmla="*/ 242042 w 311045"/>
                <a:gd name="connsiteY36" fmla="*/ 178949 h 280014"/>
                <a:gd name="connsiteX37" fmla="*/ 287649 w 311045"/>
                <a:gd name="connsiteY37" fmla="*/ 151630 h 280014"/>
                <a:gd name="connsiteX38" fmla="*/ 287649 w 311045"/>
                <a:gd name="connsiteY38" fmla="*/ 136050 h 280014"/>
                <a:gd name="connsiteX39" fmla="*/ 283762 w 311045"/>
                <a:gd name="connsiteY39" fmla="*/ 132163 h 280014"/>
                <a:gd name="connsiteX40" fmla="*/ 217201 w 311045"/>
                <a:gd name="connsiteY40" fmla="*/ 132151 h 280014"/>
                <a:gd name="connsiteX41" fmla="*/ 217680 w 311045"/>
                <a:gd name="connsiteY41" fmla="*/ 124389 h 280014"/>
                <a:gd name="connsiteX42" fmla="*/ 215721 w 311045"/>
                <a:gd name="connsiteY42" fmla="*/ 108842 h 280014"/>
                <a:gd name="connsiteX43" fmla="*/ 283762 w 311045"/>
                <a:gd name="connsiteY43" fmla="*/ 108840 h 280014"/>
                <a:gd name="connsiteX44" fmla="*/ 155486 w 311045"/>
                <a:gd name="connsiteY44" fmla="*/ 77743 h 280014"/>
                <a:gd name="connsiteX45" fmla="*/ 202132 w 311045"/>
                <a:gd name="connsiteY45" fmla="*/ 124389 h 280014"/>
                <a:gd name="connsiteX46" fmla="*/ 155486 w 311045"/>
                <a:gd name="connsiteY46" fmla="*/ 171034 h 280014"/>
                <a:gd name="connsiteX47" fmla="*/ 108840 w 311045"/>
                <a:gd name="connsiteY47" fmla="*/ 124389 h 280014"/>
                <a:gd name="connsiteX48" fmla="*/ 155486 w 311045"/>
                <a:gd name="connsiteY48" fmla="*/ 77743 h 280014"/>
                <a:gd name="connsiteX49" fmla="*/ 155486 w 311045"/>
                <a:gd name="connsiteY49" fmla="*/ 101066 h 280014"/>
                <a:gd name="connsiteX50" fmla="*/ 132163 w 311045"/>
                <a:gd name="connsiteY50" fmla="*/ 124389 h 280014"/>
                <a:gd name="connsiteX51" fmla="*/ 155486 w 311045"/>
                <a:gd name="connsiteY51" fmla="*/ 147712 h 280014"/>
                <a:gd name="connsiteX52" fmla="*/ 178809 w 311045"/>
                <a:gd name="connsiteY52" fmla="*/ 124389 h 280014"/>
                <a:gd name="connsiteX53" fmla="*/ 155486 w 311045"/>
                <a:gd name="connsiteY53" fmla="*/ 101066 h 280014"/>
                <a:gd name="connsiteX54" fmla="*/ 69969 w 311045"/>
                <a:gd name="connsiteY54" fmla="*/ 0 h 280014"/>
                <a:gd name="connsiteX55" fmla="*/ 116614 w 311045"/>
                <a:gd name="connsiteY55" fmla="*/ 46646 h 280014"/>
                <a:gd name="connsiteX56" fmla="*/ 69969 w 311045"/>
                <a:gd name="connsiteY56" fmla="*/ 93292 h 280014"/>
                <a:gd name="connsiteX57" fmla="*/ 23323 w 311045"/>
                <a:gd name="connsiteY57" fmla="*/ 46646 h 280014"/>
                <a:gd name="connsiteX58" fmla="*/ 69969 w 311045"/>
                <a:gd name="connsiteY58" fmla="*/ 0 h 280014"/>
                <a:gd name="connsiteX59" fmla="*/ 241003 w 311045"/>
                <a:gd name="connsiteY59" fmla="*/ 0 h 280014"/>
                <a:gd name="connsiteX60" fmla="*/ 287649 w 311045"/>
                <a:gd name="connsiteY60" fmla="*/ 46646 h 280014"/>
                <a:gd name="connsiteX61" fmla="*/ 241003 w 311045"/>
                <a:gd name="connsiteY61" fmla="*/ 93292 h 280014"/>
                <a:gd name="connsiteX62" fmla="*/ 194357 w 311045"/>
                <a:gd name="connsiteY62" fmla="*/ 46646 h 280014"/>
                <a:gd name="connsiteX63" fmla="*/ 241003 w 311045"/>
                <a:gd name="connsiteY63" fmla="*/ 0 h 280014"/>
                <a:gd name="connsiteX64" fmla="*/ 69969 w 311045"/>
                <a:gd name="connsiteY64" fmla="*/ 23323 h 280014"/>
                <a:gd name="connsiteX65" fmla="*/ 46646 w 311045"/>
                <a:gd name="connsiteY65" fmla="*/ 46646 h 280014"/>
                <a:gd name="connsiteX66" fmla="*/ 69969 w 311045"/>
                <a:gd name="connsiteY66" fmla="*/ 69969 h 280014"/>
                <a:gd name="connsiteX67" fmla="*/ 93292 w 311045"/>
                <a:gd name="connsiteY67" fmla="*/ 46646 h 280014"/>
                <a:gd name="connsiteX68" fmla="*/ 69969 w 311045"/>
                <a:gd name="connsiteY68" fmla="*/ 23323 h 280014"/>
                <a:gd name="connsiteX69" fmla="*/ 241003 w 311045"/>
                <a:gd name="connsiteY69" fmla="*/ 23323 h 280014"/>
                <a:gd name="connsiteX70" fmla="*/ 217680 w 311045"/>
                <a:gd name="connsiteY70" fmla="*/ 46646 h 280014"/>
                <a:gd name="connsiteX71" fmla="*/ 241003 w 311045"/>
                <a:gd name="connsiteY71" fmla="*/ 69969 h 280014"/>
                <a:gd name="connsiteX72" fmla="*/ 264326 w 311045"/>
                <a:gd name="connsiteY72" fmla="*/ 46646 h 280014"/>
                <a:gd name="connsiteX73" fmla="*/ 241003 w 311045"/>
                <a:gd name="connsiteY73" fmla="*/ 23323 h 2800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Lst>
              <a:rect l="l" t="t" r="r" b="b"/>
              <a:pathLst>
                <a:path w="311045" h="280014">
                  <a:moveTo>
                    <a:pt x="198244" y="186583"/>
                  </a:moveTo>
                  <a:cubicBezTo>
                    <a:pt x="213272" y="186583"/>
                    <a:pt x="225454" y="198765"/>
                    <a:pt x="225454" y="213793"/>
                  </a:cubicBezTo>
                  <a:lnTo>
                    <a:pt x="225437" y="228752"/>
                  </a:lnTo>
                  <a:cubicBezTo>
                    <a:pt x="227252" y="262790"/>
                    <a:pt x="201943" y="280014"/>
                    <a:pt x="156524" y="280014"/>
                  </a:cubicBezTo>
                  <a:cubicBezTo>
                    <a:pt x="111295" y="280014"/>
                    <a:pt x="85517" y="263070"/>
                    <a:pt x="85517" y="229342"/>
                  </a:cubicBezTo>
                  <a:lnTo>
                    <a:pt x="85517" y="213793"/>
                  </a:lnTo>
                  <a:cubicBezTo>
                    <a:pt x="85517" y="198765"/>
                    <a:pt x="97700" y="186583"/>
                    <a:pt x="112727" y="186583"/>
                  </a:cubicBezTo>
                  <a:lnTo>
                    <a:pt x="198244" y="186583"/>
                  </a:lnTo>
                  <a:close/>
                  <a:moveTo>
                    <a:pt x="198244" y="209906"/>
                  </a:moveTo>
                  <a:lnTo>
                    <a:pt x="112727" y="209906"/>
                  </a:lnTo>
                  <a:cubicBezTo>
                    <a:pt x="110580" y="209906"/>
                    <a:pt x="108840" y="211646"/>
                    <a:pt x="108840" y="213793"/>
                  </a:cubicBezTo>
                  <a:lnTo>
                    <a:pt x="108840" y="229342"/>
                  </a:lnTo>
                  <a:cubicBezTo>
                    <a:pt x="108840" y="247630"/>
                    <a:pt x="122627" y="256692"/>
                    <a:pt x="156524" y="256692"/>
                  </a:cubicBezTo>
                  <a:cubicBezTo>
                    <a:pt x="190232" y="256692"/>
                    <a:pt x="203103" y="247930"/>
                    <a:pt x="202132" y="229373"/>
                  </a:cubicBezTo>
                  <a:lnTo>
                    <a:pt x="202132" y="213793"/>
                  </a:lnTo>
                  <a:cubicBezTo>
                    <a:pt x="202132" y="211646"/>
                    <a:pt x="200392" y="209906"/>
                    <a:pt x="198244" y="209906"/>
                  </a:cubicBezTo>
                  <a:close/>
                  <a:moveTo>
                    <a:pt x="27210" y="108840"/>
                  </a:moveTo>
                  <a:lnTo>
                    <a:pt x="95251" y="108842"/>
                  </a:lnTo>
                  <a:cubicBezTo>
                    <a:pt x="93972" y="113811"/>
                    <a:pt x="93292" y="119020"/>
                    <a:pt x="93292" y="124389"/>
                  </a:cubicBezTo>
                  <a:cubicBezTo>
                    <a:pt x="93292" y="127018"/>
                    <a:pt x="93455" y="129610"/>
                    <a:pt x="93771" y="132152"/>
                  </a:cubicBezTo>
                  <a:lnTo>
                    <a:pt x="27210" y="132163"/>
                  </a:lnTo>
                  <a:cubicBezTo>
                    <a:pt x="25063" y="132163"/>
                    <a:pt x="23323" y="133903"/>
                    <a:pt x="23323" y="136050"/>
                  </a:cubicBezTo>
                  <a:lnTo>
                    <a:pt x="23323" y="151599"/>
                  </a:lnTo>
                  <a:cubicBezTo>
                    <a:pt x="23323" y="169887"/>
                    <a:pt x="37109" y="178949"/>
                    <a:pt x="71007" y="178949"/>
                  </a:cubicBezTo>
                  <a:cubicBezTo>
                    <a:pt x="78189" y="178949"/>
                    <a:pt x="84425" y="178552"/>
                    <a:pt x="89783" y="177747"/>
                  </a:cubicBezTo>
                  <a:cubicBezTo>
                    <a:pt x="80995" y="183313"/>
                    <a:pt x="74407" y="192009"/>
                    <a:pt x="71542" y="202259"/>
                  </a:cubicBezTo>
                  <a:lnTo>
                    <a:pt x="71007" y="202272"/>
                  </a:lnTo>
                  <a:cubicBezTo>
                    <a:pt x="25777" y="202272"/>
                    <a:pt x="0" y="185327"/>
                    <a:pt x="0" y="151599"/>
                  </a:cubicBezTo>
                  <a:lnTo>
                    <a:pt x="0" y="136050"/>
                  </a:lnTo>
                  <a:cubicBezTo>
                    <a:pt x="0" y="121022"/>
                    <a:pt x="12182" y="108840"/>
                    <a:pt x="27210" y="108840"/>
                  </a:cubicBezTo>
                  <a:close/>
                  <a:moveTo>
                    <a:pt x="283762" y="108840"/>
                  </a:moveTo>
                  <a:cubicBezTo>
                    <a:pt x="298789" y="108840"/>
                    <a:pt x="310972" y="121022"/>
                    <a:pt x="310972" y="136050"/>
                  </a:cubicBezTo>
                  <a:lnTo>
                    <a:pt x="310955" y="151009"/>
                  </a:lnTo>
                  <a:cubicBezTo>
                    <a:pt x="312769" y="185047"/>
                    <a:pt x="287461" y="202272"/>
                    <a:pt x="242042" y="202272"/>
                  </a:cubicBezTo>
                  <a:lnTo>
                    <a:pt x="239425" y="202245"/>
                  </a:lnTo>
                  <a:cubicBezTo>
                    <a:pt x="236480" y="191717"/>
                    <a:pt x="229606" y="182831"/>
                    <a:pt x="220484" y="177266"/>
                  </a:cubicBezTo>
                  <a:cubicBezTo>
                    <a:pt x="226496" y="178394"/>
                    <a:pt x="233653" y="178949"/>
                    <a:pt x="242042" y="178949"/>
                  </a:cubicBezTo>
                  <a:cubicBezTo>
                    <a:pt x="275749" y="178949"/>
                    <a:pt x="288621" y="170187"/>
                    <a:pt x="287649" y="151630"/>
                  </a:cubicBezTo>
                  <a:lnTo>
                    <a:pt x="287649" y="136050"/>
                  </a:lnTo>
                  <a:cubicBezTo>
                    <a:pt x="287649" y="133903"/>
                    <a:pt x="285909" y="132163"/>
                    <a:pt x="283762" y="132163"/>
                  </a:cubicBezTo>
                  <a:lnTo>
                    <a:pt x="217201" y="132151"/>
                  </a:lnTo>
                  <a:cubicBezTo>
                    <a:pt x="217517" y="129608"/>
                    <a:pt x="217680" y="127018"/>
                    <a:pt x="217680" y="124389"/>
                  </a:cubicBezTo>
                  <a:cubicBezTo>
                    <a:pt x="217680" y="119020"/>
                    <a:pt x="217001" y="113811"/>
                    <a:pt x="215721" y="108842"/>
                  </a:cubicBezTo>
                  <a:lnTo>
                    <a:pt x="283762" y="108840"/>
                  </a:lnTo>
                  <a:close/>
                  <a:moveTo>
                    <a:pt x="155486" y="77743"/>
                  </a:moveTo>
                  <a:cubicBezTo>
                    <a:pt x="181248" y="77743"/>
                    <a:pt x="202132" y="98627"/>
                    <a:pt x="202132" y="124389"/>
                  </a:cubicBezTo>
                  <a:cubicBezTo>
                    <a:pt x="202132" y="150151"/>
                    <a:pt x="181248" y="171034"/>
                    <a:pt x="155486" y="171034"/>
                  </a:cubicBezTo>
                  <a:cubicBezTo>
                    <a:pt x="129723" y="171034"/>
                    <a:pt x="108840" y="150151"/>
                    <a:pt x="108840" y="124389"/>
                  </a:cubicBezTo>
                  <a:cubicBezTo>
                    <a:pt x="108840" y="98627"/>
                    <a:pt x="129723" y="77743"/>
                    <a:pt x="155486" y="77743"/>
                  </a:cubicBezTo>
                  <a:close/>
                  <a:moveTo>
                    <a:pt x="155486" y="101066"/>
                  </a:moveTo>
                  <a:cubicBezTo>
                    <a:pt x="142605" y="101066"/>
                    <a:pt x="132163" y="111508"/>
                    <a:pt x="132163" y="124389"/>
                  </a:cubicBezTo>
                  <a:cubicBezTo>
                    <a:pt x="132163" y="137269"/>
                    <a:pt x="142605" y="147712"/>
                    <a:pt x="155486" y="147712"/>
                  </a:cubicBezTo>
                  <a:cubicBezTo>
                    <a:pt x="168366" y="147712"/>
                    <a:pt x="178809" y="137269"/>
                    <a:pt x="178809" y="124389"/>
                  </a:cubicBezTo>
                  <a:cubicBezTo>
                    <a:pt x="178809" y="111508"/>
                    <a:pt x="168366" y="101066"/>
                    <a:pt x="155486" y="101066"/>
                  </a:cubicBezTo>
                  <a:close/>
                  <a:moveTo>
                    <a:pt x="69969" y="0"/>
                  </a:moveTo>
                  <a:cubicBezTo>
                    <a:pt x="95730" y="0"/>
                    <a:pt x="116614" y="20884"/>
                    <a:pt x="116614" y="46646"/>
                  </a:cubicBezTo>
                  <a:cubicBezTo>
                    <a:pt x="116614" y="72407"/>
                    <a:pt x="95730" y="93292"/>
                    <a:pt x="69969" y="93292"/>
                  </a:cubicBezTo>
                  <a:cubicBezTo>
                    <a:pt x="44207" y="93292"/>
                    <a:pt x="23323" y="72407"/>
                    <a:pt x="23323" y="46646"/>
                  </a:cubicBezTo>
                  <a:cubicBezTo>
                    <a:pt x="23323" y="20884"/>
                    <a:pt x="44207" y="0"/>
                    <a:pt x="69969" y="0"/>
                  </a:cubicBezTo>
                  <a:close/>
                  <a:moveTo>
                    <a:pt x="241003" y="0"/>
                  </a:moveTo>
                  <a:cubicBezTo>
                    <a:pt x="266766" y="0"/>
                    <a:pt x="287649" y="20884"/>
                    <a:pt x="287649" y="46646"/>
                  </a:cubicBezTo>
                  <a:cubicBezTo>
                    <a:pt x="287649" y="72407"/>
                    <a:pt x="266766" y="93292"/>
                    <a:pt x="241003" y="93292"/>
                  </a:cubicBezTo>
                  <a:cubicBezTo>
                    <a:pt x="215241" y="93292"/>
                    <a:pt x="194357" y="72407"/>
                    <a:pt x="194357" y="46646"/>
                  </a:cubicBezTo>
                  <a:cubicBezTo>
                    <a:pt x="194357" y="20884"/>
                    <a:pt x="215241" y="0"/>
                    <a:pt x="241003" y="0"/>
                  </a:cubicBezTo>
                  <a:close/>
                  <a:moveTo>
                    <a:pt x="69969" y="23323"/>
                  </a:moveTo>
                  <a:cubicBezTo>
                    <a:pt x="57088" y="23323"/>
                    <a:pt x="46646" y="33765"/>
                    <a:pt x="46646" y="46646"/>
                  </a:cubicBezTo>
                  <a:cubicBezTo>
                    <a:pt x="46646" y="59527"/>
                    <a:pt x="57088" y="69969"/>
                    <a:pt x="69969" y="69969"/>
                  </a:cubicBezTo>
                  <a:cubicBezTo>
                    <a:pt x="82850" y="69969"/>
                    <a:pt x="93292" y="59527"/>
                    <a:pt x="93292" y="46646"/>
                  </a:cubicBezTo>
                  <a:cubicBezTo>
                    <a:pt x="93292" y="33765"/>
                    <a:pt x="82850" y="23323"/>
                    <a:pt x="69969" y="23323"/>
                  </a:cubicBezTo>
                  <a:close/>
                  <a:moveTo>
                    <a:pt x="241003" y="23323"/>
                  </a:moveTo>
                  <a:cubicBezTo>
                    <a:pt x="228123" y="23323"/>
                    <a:pt x="217680" y="33765"/>
                    <a:pt x="217680" y="46646"/>
                  </a:cubicBezTo>
                  <a:cubicBezTo>
                    <a:pt x="217680" y="59527"/>
                    <a:pt x="228123" y="69969"/>
                    <a:pt x="241003" y="69969"/>
                  </a:cubicBezTo>
                  <a:cubicBezTo>
                    <a:pt x="253883" y="69969"/>
                    <a:pt x="264326" y="59527"/>
                    <a:pt x="264326" y="46646"/>
                  </a:cubicBezTo>
                  <a:cubicBezTo>
                    <a:pt x="264326" y="33765"/>
                    <a:pt x="253883" y="23323"/>
                    <a:pt x="241003" y="23323"/>
                  </a:cubicBezTo>
                  <a:close/>
                </a:path>
              </a:pathLst>
            </a:custGeom>
            <a:gradFill flip="none" rotWithShape="1">
              <a:gsLst>
                <a:gs pos="0">
                  <a:srgbClr val="0078D4"/>
                </a:gs>
                <a:gs pos="100000">
                  <a:srgbClr val="C53FCC"/>
                </a:gs>
              </a:gsLst>
              <a:lin ang="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lIns="704088" tIns="45720" rIns="91440" bIns="45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white"/>
                </a:solidFill>
                <a:effectLst/>
                <a:uLnTx/>
                <a:uFillTx/>
                <a:latin typeface="Segoe UI Semibold"/>
                <a:ea typeface="+mn-ea"/>
                <a:cs typeface="+mn-cs"/>
              </a:endParaRPr>
            </a:p>
          </p:txBody>
        </p:sp>
      </p:grpSp>
      <p:grpSp>
        <p:nvGrpSpPr>
          <p:cNvPr id="38" name="Group 37">
            <a:extLst>
              <a:ext uri="{FF2B5EF4-FFF2-40B4-BE49-F238E27FC236}">
                <a16:creationId xmlns:a16="http://schemas.microsoft.com/office/drawing/2014/main" id="{59EBA296-56E2-44F9-D3D6-879FD767E19A}"/>
              </a:ext>
              <a:ext uri="{C183D7F6-B498-43B3-948B-1728B52AA6E4}">
                <adec:decorative xmlns:adec="http://schemas.microsoft.com/office/drawing/2017/decorative" val="1"/>
              </a:ext>
            </a:extLst>
          </p:cNvPr>
          <p:cNvGrpSpPr/>
          <p:nvPr/>
        </p:nvGrpSpPr>
        <p:grpSpPr>
          <a:xfrm>
            <a:off x="4253412" y="1937352"/>
            <a:ext cx="854618" cy="854618"/>
            <a:chOff x="4287703" y="1893810"/>
            <a:chExt cx="854618" cy="854618"/>
          </a:xfrm>
        </p:grpSpPr>
        <p:sp>
          <p:nvSpPr>
            <p:cNvPr id="22" name="Oval 21">
              <a:extLst>
                <a:ext uri="{FF2B5EF4-FFF2-40B4-BE49-F238E27FC236}">
                  <a16:creationId xmlns:a16="http://schemas.microsoft.com/office/drawing/2014/main" id="{81D290C9-857E-CBCC-6B9A-EBBAA4316AA9}"/>
                </a:ext>
              </a:extLst>
            </p:cNvPr>
            <p:cNvSpPr>
              <a:spLocks/>
            </p:cNvSpPr>
            <p:nvPr/>
          </p:nvSpPr>
          <p:spPr bwMode="auto">
            <a:xfrm>
              <a:off x="4287703" y="1893810"/>
              <a:ext cx="854618" cy="854618"/>
            </a:xfrm>
            <a:prstGeom prst="ellipse">
              <a:avLst/>
            </a:prstGeom>
            <a:solidFill>
              <a:schemeClr val="bg1"/>
            </a:solidFill>
            <a:ln w="19050">
              <a:gradFill>
                <a:gsLst>
                  <a:gs pos="100000">
                    <a:srgbClr val="C03BC4"/>
                  </a:gs>
                  <a:gs pos="0">
                    <a:srgbClr val="0078D4"/>
                  </a:gs>
                </a:gsLst>
                <a:lin ang="0" scaled="0"/>
              </a:gradFill>
            </a:ln>
            <a:effectLst>
              <a:outerShdw blurRad="177800" dist="25400" algn="tl" rotWithShape="0">
                <a:prstClr val="black">
                  <a:alpha val="5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34" name="Graphic 32">
              <a:extLst>
                <a:ext uri="{FF2B5EF4-FFF2-40B4-BE49-F238E27FC236}">
                  <a16:creationId xmlns:a16="http://schemas.microsoft.com/office/drawing/2014/main" id="{47BBD372-0282-7BF4-4C9D-D121B7D4087A}"/>
                </a:ext>
              </a:extLst>
            </p:cNvPr>
            <p:cNvSpPr/>
            <p:nvPr/>
          </p:nvSpPr>
          <p:spPr>
            <a:xfrm>
              <a:off x="4471015" y="2162563"/>
              <a:ext cx="487994" cy="317112"/>
            </a:xfrm>
            <a:custGeom>
              <a:avLst/>
              <a:gdLst>
                <a:gd name="connsiteX0" fmla="*/ 7207 w 190551"/>
                <a:gd name="connsiteY0" fmla="*/ 109538 h 123825"/>
                <a:gd name="connsiteX1" fmla="*/ 183419 w 190551"/>
                <a:gd name="connsiteY1" fmla="*/ 109538 h 123825"/>
                <a:gd name="connsiteX2" fmla="*/ 190552 w 190551"/>
                <a:gd name="connsiteY2" fmla="*/ 116693 h 123825"/>
                <a:gd name="connsiteX3" fmla="*/ 184381 w 190551"/>
                <a:gd name="connsiteY3" fmla="*/ 123758 h 123825"/>
                <a:gd name="connsiteX4" fmla="*/ 183419 w 190551"/>
                <a:gd name="connsiteY4" fmla="*/ 123825 h 123825"/>
                <a:gd name="connsiteX5" fmla="*/ 7216 w 190551"/>
                <a:gd name="connsiteY5" fmla="*/ 123825 h 123825"/>
                <a:gd name="connsiteX6" fmla="*/ 0 w 190551"/>
                <a:gd name="connsiteY6" fmla="*/ 116755 h 123825"/>
                <a:gd name="connsiteX7" fmla="*/ 6245 w 190551"/>
                <a:gd name="connsiteY7" fmla="*/ 109595 h 123825"/>
                <a:gd name="connsiteX8" fmla="*/ 7216 w 190551"/>
                <a:gd name="connsiteY8" fmla="*/ 109538 h 123825"/>
                <a:gd name="connsiteX9" fmla="*/ 183410 w 190551"/>
                <a:gd name="connsiteY9" fmla="*/ 109538 h 123825"/>
                <a:gd name="connsiteX10" fmla="*/ 7216 w 190551"/>
                <a:gd name="connsiteY10" fmla="*/ 109538 h 123825"/>
                <a:gd name="connsiteX11" fmla="*/ 154844 w 190551"/>
                <a:gd name="connsiteY11" fmla="*/ 0 h 123825"/>
                <a:gd name="connsiteX12" fmla="*/ 171513 w 190551"/>
                <a:gd name="connsiteY12" fmla="*/ 16669 h 123825"/>
                <a:gd name="connsiteX13" fmla="*/ 171513 w 190551"/>
                <a:gd name="connsiteY13" fmla="*/ 88106 h 123825"/>
                <a:gd name="connsiteX14" fmla="*/ 154844 w 190551"/>
                <a:gd name="connsiteY14" fmla="*/ 104775 h 123825"/>
                <a:gd name="connsiteX15" fmla="*/ 35782 w 190551"/>
                <a:gd name="connsiteY15" fmla="*/ 104775 h 123825"/>
                <a:gd name="connsiteX16" fmla="*/ 19113 w 190551"/>
                <a:gd name="connsiteY16" fmla="*/ 88106 h 123825"/>
                <a:gd name="connsiteX17" fmla="*/ 19113 w 190551"/>
                <a:gd name="connsiteY17" fmla="*/ 16669 h 123825"/>
                <a:gd name="connsiteX18" fmla="*/ 35782 w 190551"/>
                <a:gd name="connsiteY18" fmla="*/ 0 h 123825"/>
                <a:gd name="connsiteX19" fmla="*/ 154844 w 190551"/>
                <a:gd name="connsiteY19" fmla="*/ 0 h 123825"/>
                <a:gd name="connsiteX20" fmla="*/ 154844 w 190551"/>
                <a:gd name="connsiteY20" fmla="*/ 14288 h 123825"/>
                <a:gd name="connsiteX21" fmla="*/ 35782 w 190551"/>
                <a:gd name="connsiteY21" fmla="*/ 14288 h 123825"/>
                <a:gd name="connsiteX22" fmla="*/ 33401 w 190551"/>
                <a:gd name="connsiteY22" fmla="*/ 16669 h 123825"/>
                <a:gd name="connsiteX23" fmla="*/ 33401 w 190551"/>
                <a:gd name="connsiteY23" fmla="*/ 88106 h 123825"/>
                <a:gd name="connsiteX24" fmla="*/ 35782 w 190551"/>
                <a:gd name="connsiteY24" fmla="*/ 90488 h 123825"/>
                <a:gd name="connsiteX25" fmla="*/ 154844 w 190551"/>
                <a:gd name="connsiteY25" fmla="*/ 90488 h 123825"/>
                <a:gd name="connsiteX26" fmla="*/ 157226 w 190551"/>
                <a:gd name="connsiteY26" fmla="*/ 88106 h 123825"/>
                <a:gd name="connsiteX27" fmla="*/ 157226 w 190551"/>
                <a:gd name="connsiteY27" fmla="*/ 16669 h 123825"/>
                <a:gd name="connsiteX28" fmla="*/ 154844 w 190551"/>
                <a:gd name="connsiteY28" fmla="*/ 14288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90551" h="123825">
                  <a:moveTo>
                    <a:pt x="7207" y="109538"/>
                  </a:moveTo>
                  <a:lnTo>
                    <a:pt x="183419" y="109538"/>
                  </a:lnTo>
                  <a:cubicBezTo>
                    <a:pt x="187365" y="109544"/>
                    <a:pt x="190558" y="112747"/>
                    <a:pt x="190552" y="116693"/>
                  </a:cubicBezTo>
                  <a:cubicBezTo>
                    <a:pt x="190546" y="120258"/>
                    <a:pt x="187913" y="123273"/>
                    <a:pt x="184381" y="123758"/>
                  </a:cubicBezTo>
                  <a:lnTo>
                    <a:pt x="183419" y="123825"/>
                  </a:lnTo>
                  <a:lnTo>
                    <a:pt x="7216" y="123825"/>
                  </a:lnTo>
                  <a:cubicBezTo>
                    <a:pt x="3271" y="123865"/>
                    <a:pt x="40" y="120700"/>
                    <a:pt x="0" y="116755"/>
                  </a:cubicBezTo>
                  <a:cubicBezTo>
                    <a:pt x="-36" y="113129"/>
                    <a:pt x="2648" y="110051"/>
                    <a:pt x="6245" y="109595"/>
                  </a:cubicBezTo>
                  <a:lnTo>
                    <a:pt x="7216" y="109538"/>
                  </a:lnTo>
                  <a:lnTo>
                    <a:pt x="183410" y="109538"/>
                  </a:lnTo>
                  <a:lnTo>
                    <a:pt x="7216" y="109538"/>
                  </a:lnTo>
                  <a:close/>
                  <a:moveTo>
                    <a:pt x="154844" y="0"/>
                  </a:moveTo>
                  <a:cubicBezTo>
                    <a:pt x="164046" y="0"/>
                    <a:pt x="171513" y="7468"/>
                    <a:pt x="171513" y="16669"/>
                  </a:cubicBezTo>
                  <a:lnTo>
                    <a:pt x="171513" y="88106"/>
                  </a:lnTo>
                  <a:cubicBezTo>
                    <a:pt x="171513" y="97312"/>
                    <a:pt x="164050" y="104775"/>
                    <a:pt x="154844" y="104775"/>
                  </a:cubicBezTo>
                  <a:lnTo>
                    <a:pt x="35782" y="104775"/>
                  </a:lnTo>
                  <a:cubicBezTo>
                    <a:pt x="26576" y="104775"/>
                    <a:pt x="19113" y="97312"/>
                    <a:pt x="19113" y="88106"/>
                  </a:cubicBezTo>
                  <a:lnTo>
                    <a:pt x="19113" y="16669"/>
                  </a:lnTo>
                  <a:cubicBezTo>
                    <a:pt x="19113" y="7468"/>
                    <a:pt x="26571" y="0"/>
                    <a:pt x="35782" y="0"/>
                  </a:cubicBezTo>
                  <a:lnTo>
                    <a:pt x="154844" y="0"/>
                  </a:lnTo>
                  <a:close/>
                  <a:moveTo>
                    <a:pt x="154844" y="14288"/>
                  </a:moveTo>
                  <a:lnTo>
                    <a:pt x="35782" y="14288"/>
                  </a:lnTo>
                  <a:cubicBezTo>
                    <a:pt x="34467" y="14288"/>
                    <a:pt x="33401" y="15354"/>
                    <a:pt x="33401" y="16669"/>
                  </a:cubicBezTo>
                  <a:lnTo>
                    <a:pt x="33401" y="88106"/>
                  </a:lnTo>
                  <a:cubicBezTo>
                    <a:pt x="33401" y="89421"/>
                    <a:pt x="34467" y="90488"/>
                    <a:pt x="35782" y="90488"/>
                  </a:cubicBezTo>
                  <a:lnTo>
                    <a:pt x="154844" y="90488"/>
                  </a:lnTo>
                  <a:cubicBezTo>
                    <a:pt x="156160" y="90488"/>
                    <a:pt x="157226" y="89422"/>
                    <a:pt x="157226" y="88106"/>
                  </a:cubicBezTo>
                  <a:lnTo>
                    <a:pt x="157226" y="16669"/>
                  </a:lnTo>
                  <a:cubicBezTo>
                    <a:pt x="157226" y="15354"/>
                    <a:pt x="156160" y="14288"/>
                    <a:pt x="154844" y="14288"/>
                  </a:cubicBezTo>
                  <a:close/>
                </a:path>
              </a:pathLst>
            </a:custGeom>
            <a:gradFill flip="none" rotWithShape="1">
              <a:gsLst>
                <a:gs pos="0">
                  <a:srgbClr val="0078D4"/>
                </a:gs>
                <a:gs pos="100000">
                  <a:srgbClr val="C53FCC"/>
                </a:gs>
              </a:gsLst>
              <a:lin ang="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lIns="704088" tIns="45720" rIns="91440" bIns="45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white"/>
                </a:solidFill>
                <a:effectLst/>
                <a:uLnTx/>
                <a:uFillTx/>
                <a:latin typeface="Segoe UI Semibold"/>
                <a:ea typeface="+mn-ea"/>
                <a:cs typeface="+mn-cs"/>
              </a:endParaRPr>
            </a:p>
          </p:txBody>
        </p:sp>
      </p:grpSp>
      <p:grpSp>
        <p:nvGrpSpPr>
          <p:cNvPr id="39" name="Group 38">
            <a:extLst>
              <a:ext uri="{FF2B5EF4-FFF2-40B4-BE49-F238E27FC236}">
                <a16:creationId xmlns:a16="http://schemas.microsoft.com/office/drawing/2014/main" id="{1B0428D7-D5D6-3C62-E20C-358E90C35591}"/>
              </a:ext>
              <a:ext uri="{C183D7F6-B498-43B3-948B-1728B52AA6E4}">
                <adec:decorative xmlns:adec="http://schemas.microsoft.com/office/drawing/2017/decorative" val="1"/>
              </a:ext>
            </a:extLst>
          </p:cNvPr>
          <p:cNvGrpSpPr/>
          <p:nvPr/>
        </p:nvGrpSpPr>
        <p:grpSpPr>
          <a:xfrm>
            <a:off x="7083970" y="1937352"/>
            <a:ext cx="854618" cy="854618"/>
            <a:chOff x="7049681" y="1893810"/>
            <a:chExt cx="854618" cy="854618"/>
          </a:xfrm>
        </p:grpSpPr>
        <p:sp>
          <p:nvSpPr>
            <p:cNvPr id="23" name="Oval 22">
              <a:extLst>
                <a:ext uri="{FF2B5EF4-FFF2-40B4-BE49-F238E27FC236}">
                  <a16:creationId xmlns:a16="http://schemas.microsoft.com/office/drawing/2014/main" id="{5A17DAE7-2398-BA8F-D749-1AA9B114B474}"/>
                </a:ext>
              </a:extLst>
            </p:cNvPr>
            <p:cNvSpPr>
              <a:spLocks/>
            </p:cNvSpPr>
            <p:nvPr/>
          </p:nvSpPr>
          <p:spPr bwMode="auto">
            <a:xfrm>
              <a:off x="7049681" y="1893810"/>
              <a:ext cx="854618" cy="854618"/>
            </a:xfrm>
            <a:prstGeom prst="ellipse">
              <a:avLst/>
            </a:prstGeom>
            <a:solidFill>
              <a:schemeClr val="bg1"/>
            </a:solidFill>
            <a:ln w="19050">
              <a:gradFill>
                <a:gsLst>
                  <a:gs pos="100000">
                    <a:srgbClr val="C03BC4"/>
                  </a:gs>
                  <a:gs pos="0">
                    <a:srgbClr val="0078D4"/>
                  </a:gs>
                </a:gsLst>
                <a:lin ang="0" scaled="0"/>
              </a:gradFill>
            </a:ln>
            <a:effectLst>
              <a:outerShdw blurRad="177800" dist="25400" algn="tl" rotWithShape="0">
                <a:prstClr val="black">
                  <a:alpha val="5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35" name="Graphic 8" descr="Icon of an AI robot">
              <a:extLst>
                <a:ext uri="{FF2B5EF4-FFF2-40B4-BE49-F238E27FC236}">
                  <a16:creationId xmlns:a16="http://schemas.microsoft.com/office/drawing/2014/main" id="{CC059C4A-8D70-CCE8-BF05-358DC1274F9B}"/>
                </a:ext>
              </a:extLst>
            </p:cNvPr>
            <p:cNvSpPr>
              <a:spLocks noChangeAspect="1"/>
            </p:cNvSpPr>
            <p:nvPr/>
          </p:nvSpPr>
          <p:spPr>
            <a:xfrm>
              <a:off x="7272688" y="2065725"/>
              <a:ext cx="408606" cy="510788"/>
            </a:xfrm>
            <a:custGeom>
              <a:avLst/>
              <a:gdLst>
                <a:gd name="connsiteX0" fmla="*/ 310304 w 361083"/>
                <a:gd name="connsiteY0" fmla="*/ 270807 h 451381"/>
                <a:gd name="connsiteX1" fmla="*/ 361083 w 361083"/>
                <a:gd name="connsiteY1" fmla="*/ 321586 h 451381"/>
                <a:gd name="connsiteX2" fmla="*/ 361083 w 361083"/>
                <a:gd name="connsiteY2" fmla="*/ 342013 h 451381"/>
                <a:gd name="connsiteX3" fmla="*/ 331579 w 361083"/>
                <a:gd name="connsiteY3" fmla="*/ 406227 h 451381"/>
                <a:gd name="connsiteX4" fmla="*/ 180468 w 361083"/>
                <a:gd name="connsiteY4" fmla="*/ 451382 h 451381"/>
                <a:gd name="connsiteX5" fmla="*/ 29458 w 361083"/>
                <a:gd name="connsiteY5" fmla="*/ 406238 h 451381"/>
                <a:gd name="connsiteX6" fmla="*/ 0 w 361083"/>
                <a:gd name="connsiteY6" fmla="*/ 342063 h 451381"/>
                <a:gd name="connsiteX7" fmla="*/ 0 w 361083"/>
                <a:gd name="connsiteY7" fmla="*/ 321586 h 451381"/>
                <a:gd name="connsiteX8" fmla="*/ 50779 w 361083"/>
                <a:gd name="connsiteY8" fmla="*/ 270807 h 451381"/>
                <a:gd name="connsiteX9" fmla="*/ 310304 w 361083"/>
                <a:gd name="connsiteY9" fmla="*/ 270807 h 451381"/>
                <a:gd name="connsiteX10" fmla="*/ 310304 w 361083"/>
                <a:gd name="connsiteY10" fmla="*/ 304660 h 451381"/>
                <a:gd name="connsiteX11" fmla="*/ 50779 w 361083"/>
                <a:gd name="connsiteY11" fmla="*/ 304660 h 451381"/>
                <a:gd name="connsiteX12" fmla="*/ 33853 w 361083"/>
                <a:gd name="connsiteY12" fmla="*/ 321586 h 451381"/>
                <a:gd name="connsiteX13" fmla="*/ 33853 w 361083"/>
                <a:gd name="connsiteY13" fmla="*/ 342063 h 451381"/>
                <a:gd name="connsiteX14" fmla="*/ 51527 w 361083"/>
                <a:gd name="connsiteY14" fmla="*/ 380569 h 451381"/>
                <a:gd name="connsiteX15" fmla="*/ 180468 w 361083"/>
                <a:gd name="connsiteY15" fmla="*/ 417529 h 451381"/>
                <a:gd name="connsiteX16" fmla="*/ 309530 w 361083"/>
                <a:gd name="connsiteY16" fmla="*/ 380542 h 451381"/>
                <a:gd name="connsiteX17" fmla="*/ 327231 w 361083"/>
                <a:gd name="connsiteY17" fmla="*/ 342013 h 451381"/>
                <a:gd name="connsiteX18" fmla="*/ 327231 w 361083"/>
                <a:gd name="connsiteY18" fmla="*/ 321586 h 451381"/>
                <a:gd name="connsiteX19" fmla="*/ 310304 w 361083"/>
                <a:gd name="connsiteY19" fmla="*/ 304660 h 451381"/>
                <a:gd name="connsiteX20" fmla="*/ 178177 w 361083"/>
                <a:gd name="connsiteY20" fmla="*/ 155 h 451381"/>
                <a:gd name="connsiteX21" fmla="*/ 180475 w 361083"/>
                <a:gd name="connsiteY21" fmla="*/ 0 h 451381"/>
                <a:gd name="connsiteX22" fmla="*/ 197245 w 361083"/>
                <a:gd name="connsiteY22" fmla="*/ 14630 h 451381"/>
                <a:gd name="connsiteX23" fmla="*/ 197401 w 361083"/>
                <a:gd name="connsiteY23" fmla="*/ 16926 h 451381"/>
                <a:gd name="connsiteX24" fmla="*/ 197383 w 361083"/>
                <a:gd name="connsiteY24" fmla="*/ 33830 h 451381"/>
                <a:gd name="connsiteX25" fmla="*/ 276384 w 361083"/>
                <a:gd name="connsiteY25" fmla="*/ 33842 h 451381"/>
                <a:gd name="connsiteX26" fmla="*/ 327163 w 361083"/>
                <a:gd name="connsiteY26" fmla="*/ 84621 h 451381"/>
                <a:gd name="connsiteX27" fmla="*/ 327163 w 361083"/>
                <a:gd name="connsiteY27" fmla="*/ 186282 h 451381"/>
                <a:gd name="connsiteX28" fmla="*/ 276384 w 361083"/>
                <a:gd name="connsiteY28" fmla="*/ 237061 h 451381"/>
                <a:gd name="connsiteX29" fmla="*/ 84551 w 361083"/>
                <a:gd name="connsiteY29" fmla="*/ 237061 h 451381"/>
                <a:gd name="connsiteX30" fmla="*/ 33773 w 361083"/>
                <a:gd name="connsiteY30" fmla="*/ 186282 h 451381"/>
                <a:gd name="connsiteX31" fmla="*/ 33773 w 361083"/>
                <a:gd name="connsiteY31" fmla="*/ 84621 h 451381"/>
                <a:gd name="connsiteX32" fmla="*/ 84551 w 361083"/>
                <a:gd name="connsiteY32" fmla="*/ 33842 h 451381"/>
                <a:gd name="connsiteX33" fmla="*/ 163531 w 361083"/>
                <a:gd name="connsiteY33" fmla="*/ 33830 h 451381"/>
                <a:gd name="connsiteX34" fmla="*/ 163549 w 361083"/>
                <a:gd name="connsiteY34" fmla="*/ 16926 h 451381"/>
                <a:gd name="connsiteX35" fmla="*/ 178177 w 361083"/>
                <a:gd name="connsiteY35" fmla="*/ 155 h 451381"/>
                <a:gd name="connsiteX36" fmla="*/ 180475 w 361083"/>
                <a:gd name="connsiteY36" fmla="*/ 0 h 451381"/>
                <a:gd name="connsiteX37" fmla="*/ 178177 w 361083"/>
                <a:gd name="connsiteY37" fmla="*/ 155 h 451381"/>
                <a:gd name="connsiteX38" fmla="*/ 276384 w 361083"/>
                <a:gd name="connsiteY38" fmla="*/ 67694 h 451381"/>
                <a:gd name="connsiteX39" fmla="*/ 84551 w 361083"/>
                <a:gd name="connsiteY39" fmla="*/ 67694 h 451381"/>
                <a:gd name="connsiteX40" fmla="*/ 67625 w 361083"/>
                <a:gd name="connsiteY40" fmla="*/ 84621 h 451381"/>
                <a:gd name="connsiteX41" fmla="*/ 67625 w 361083"/>
                <a:gd name="connsiteY41" fmla="*/ 186282 h 451381"/>
                <a:gd name="connsiteX42" fmla="*/ 84551 w 361083"/>
                <a:gd name="connsiteY42" fmla="*/ 203208 h 451381"/>
                <a:gd name="connsiteX43" fmla="*/ 276384 w 361083"/>
                <a:gd name="connsiteY43" fmla="*/ 203208 h 451381"/>
                <a:gd name="connsiteX44" fmla="*/ 293310 w 361083"/>
                <a:gd name="connsiteY44" fmla="*/ 186282 h 451381"/>
                <a:gd name="connsiteX45" fmla="*/ 293310 w 361083"/>
                <a:gd name="connsiteY45" fmla="*/ 84621 h 451381"/>
                <a:gd name="connsiteX46" fmla="*/ 276384 w 361083"/>
                <a:gd name="connsiteY46" fmla="*/ 67694 h 451381"/>
                <a:gd name="connsiteX47" fmla="*/ 129672 w 361083"/>
                <a:gd name="connsiteY47" fmla="*/ 101547 h 451381"/>
                <a:gd name="connsiteX48" fmla="*/ 157866 w 361083"/>
                <a:gd name="connsiteY48" fmla="*/ 129741 h 451381"/>
                <a:gd name="connsiteX49" fmla="*/ 129672 w 361083"/>
                <a:gd name="connsiteY49" fmla="*/ 157936 h 451381"/>
                <a:gd name="connsiteX50" fmla="*/ 101478 w 361083"/>
                <a:gd name="connsiteY50" fmla="*/ 129741 h 451381"/>
                <a:gd name="connsiteX51" fmla="*/ 129672 w 361083"/>
                <a:gd name="connsiteY51" fmla="*/ 101547 h 451381"/>
                <a:gd name="connsiteX52" fmla="*/ 231067 w 361083"/>
                <a:gd name="connsiteY52" fmla="*/ 101547 h 451381"/>
                <a:gd name="connsiteX53" fmla="*/ 259261 w 361083"/>
                <a:gd name="connsiteY53" fmla="*/ 129741 h 451381"/>
                <a:gd name="connsiteX54" fmla="*/ 231067 w 361083"/>
                <a:gd name="connsiteY54" fmla="*/ 157936 h 451381"/>
                <a:gd name="connsiteX55" fmla="*/ 202872 w 361083"/>
                <a:gd name="connsiteY55" fmla="*/ 129741 h 451381"/>
                <a:gd name="connsiteX56" fmla="*/ 231067 w 361083"/>
                <a:gd name="connsiteY56" fmla="*/ 101547 h 4513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Lst>
              <a:rect l="l" t="t" r="r" b="b"/>
              <a:pathLst>
                <a:path w="361083" h="451381">
                  <a:moveTo>
                    <a:pt x="310304" y="270807"/>
                  </a:moveTo>
                  <a:cubicBezTo>
                    <a:pt x="338350" y="270807"/>
                    <a:pt x="361083" y="293543"/>
                    <a:pt x="361083" y="321586"/>
                  </a:cubicBezTo>
                  <a:lnTo>
                    <a:pt x="361083" y="342013"/>
                  </a:lnTo>
                  <a:cubicBezTo>
                    <a:pt x="361083" y="366696"/>
                    <a:pt x="350309" y="390149"/>
                    <a:pt x="331579" y="406227"/>
                  </a:cubicBezTo>
                  <a:cubicBezTo>
                    <a:pt x="296251" y="436557"/>
                    <a:pt x="245691" y="451382"/>
                    <a:pt x="180468" y="451382"/>
                  </a:cubicBezTo>
                  <a:cubicBezTo>
                    <a:pt x="115256" y="451382"/>
                    <a:pt x="64729" y="436563"/>
                    <a:pt x="29458" y="406238"/>
                  </a:cubicBezTo>
                  <a:cubicBezTo>
                    <a:pt x="10757" y="390161"/>
                    <a:pt x="0" y="366726"/>
                    <a:pt x="0" y="342063"/>
                  </a:cubicBezTo>
                  <a:lnTo>
                    <a:pt x="0" y="321586"/>
                  </a:lnTo>
                  <a:cubicBezTo>
                    <a:pt x="0" y="293543"/>
                    <a:pt x="22735" y="270807"/>
                    <a:pt x="50779" y="270807"/>
                  </a:cubicBezTo>
                  <a:lnTo>
                    <a:pt x="310304" y="270807"/>
                  </a:lnTo>
                  <a:close/>
                  <a:moveTo>
                    <a:pt x="310304" y="304660"/>
                  </a:moveTo>
                  <a:lnTo>
                    <a:pt x="50779" y="304660"/>
                  </a:lnTo>
                  <a:cubicBezTo>
                    <a:pt x="41431" y="304660"/>
                    <a:pt x="33853" y="312239"/>
                    <a:pt x="33853" y="321586"/>
                  </a:cubicBezTo>
                  <a:lnTo>
                    <a:pt x="33853" y="342063"/>
                  </a:lnTo>
                  <a:cubicBezTo>
                    <a:pt x="33853" y="356861"/>
                    <a:pt x="40307" y="370921"/>
                    <a:pt x="51527" y="380569"/>
                  </a:cubicBezTo>
                  <a:cubicBezTo>
                    <a:pt x="79920" y="404979"/>
                    <a:pt x="122710" y="417529"/>
                    <a:pt x="180468" y="417529"/>
                  </a:cubicBezTo>
                  <a:cubicBezTo>
                    <a:pt x="238241" y="417529"/>
                    <a:pt x="281074" y="404972"/>
                    <a:pt x="309530" y="380542"/>
                  </a:cubicBezTo>
                  <a:cubicBezTo>
                    <a:pt x="320765" y="370894"/>
                    <a:pt x="327231" y="356822"/>
                    <a:pt x="327231" y="342013"/>
                  </a:cubicBezTo>
                  <a:lnTo>
                    <a:pt x="327231" y="321586"/>
                  </a:lnTo>
                  <a:cubicBezTo>
                    <a:pt x="327231" y="312239"/>
                    <a:pt x="319652" y="304660"/>
                    <a:pt x="310304" y="304660"/>
                  </a:cubicBezTo>
                  <a:close/>
                  <a:moveTo>
                    <a:pt x="178177" y="155"/>
                  </a:moveTo>
                  <a:lnTo>
                    <a:pt x="180475" y="0"/>
                  </a:lnTo>
                  <a:cubicBezTo>
                    <a:pt x="189044" y="0"/>
                    <a:pt x="196126" y="6368"/>
                    <a:pt x="197245" y="14630"/>
                  </a:cubicBezTo>
                  <a:lnTo>
                    <a:pt x="197401" y="16926"/>
                  </a:lnTo>
                  <a:lnTo>
                    <a:pt x="197383" y="33830"/>
                  </a:lnTo>
                  <a:lnTo>
                    <a:pt x="276384" y="33842"/>
                  </a:lnTo>
                  <a:cubicBezTo>
                    <a:pt x="304427" y="33842"/>
                    <a:pt x="327163" y="56576"/>
                    <a:pt x="327163" y="84621"/>
                  </a:cubicBezTo>
                  <a:lnTo>
                    <a:pt x="327163" y="186282"/>
                  </a:lnTo>
                  <a:cubicBezTo>
                    <a:pt x="327163" y="214325"/>
                    <a:pt x="304427" y="237061"/>
                    <a:pt x="276384" y="237061"/>
                  </a:cubicBezTo>
                  <a:lnTo>
                    <a:pt x="84551" y="237061"/>
                  </a:lnTo>
                  <a:cubicBezTo>
                    <a:pt x="56507" y="237061"/>
                    <a:pt x="33773" y="214325"/>
                    <a:pt x="33773" y="186282"/>
                  </a:cubicBezTo>
                  <a:lnTo>
                    <a:pt x="33773" y="84621"/>
                  </a:lnTo>
                  <a:cubicBezTo>
                    <a:pt x="33773" y="56576"/>
                    <a:pt x="56507" y="33842"/>
                    <a:pt x="84551" y="33842"/>
                  </a:cubicBezTo>
                  <a:lnTo>
                    <a:pt x="163531" y="33830"/>
                  </a:lnTo>
                  <a:lnTo>
                    <a:pt x="163549" y="16926"/>
                  </a:lnTo>
                  <a:cubicBezTo>
                    <a:pt x="163549" y="8357"/>
                    <a:pt x="169915" y="1275"/>
                    <a:pt x="178177" y="155"/>
                  </a:cubicBezTo>
                  <a:lnTo>
                    <a:pt x="180475" y="0"/>
                  </a:lnTo>
                  <a:lnTo>
                    <a:pt x="178177" y="155"/>
                  </a:lnTo>
                  <a:close/>
                  <a:moveTo>
                    <a:pt x="276384" y="67694"/>
                  </a:moveTo>
                  <a:lnTo>
                    <a:pt x="84551" y="67694"/>
                  </a:lnTo>
                  <a:cubicBezTo>
                    <a:pt x="75203" y="67694"/>
                    <a:pt x="67625" y="75272"/>
                    <a:pt x="67625" y="84621"/>
                  </a:cubicBezTo>
                  <a:lnTo>
                    <a:pt x="67625" y="186282"/>
                  </a:lnTo>
                  <a:cubicBezTo>
                    <a:pt x="67625" y="195630"/>
                    <a:pt x="75203" y="203208"/>
                    <a:pt x="84551" y="203208"/>
                  </a:cubicBezTo>
                  <a:lnTo>
                    <a:pt x="276384" y="203208"/>
                  </a:lnTo>
                  <a:cubicBezTo>
                    <a:pt x="285732" y="203208"/>
                    <a:pt x="293310" y="195630"/>
                    <a:pt x="293310" y="186282"/>
                  </a:cubicBezTo>
                  <a:lnTo>
                    <a:pt x="293310" y="84621"/>
                  </a:lnTo>
                  <a:cubicBezTo>
                    <a:pt x="293310" y="75272"/>
                    <a:pt x="285732" y="67694"/>
                    <a:pt x="276384" y="67694"/>
                  </a:cubicBezTo>
                  <a:close/>
                  <a:moveTo>
                    <a:pt x="129672" y="101547"/>
                  </a:moveTo>
                  <a:cubicBezTo>
                    <a:pt x="145243" y="101547"/>
                    <a:pt x="157866" y="114170"/>
                    <a:pt x="157866" y="129741"/>
                  </a:cubicBezTo>
                  <a:cubicBezTo>
                    <a:pt x="157866" y="145313"/>
                    <a:pt x="145243" y="157936"/>
                    <a:pt x="129672" y="157936"/>
                  </a:cubicBezTo>
                  <a:cubicBezTo>
                    <a:pt x="114101" y="157936"/>
                    <a:pt x="101478" y="145313"/>
                    <a:pt x="101478" y="129741"/>
                  </a:cubicBezTo>
                  <a:cubicBezTo>
                    <a:pt x="101478" y="114170"/>
                    <a:pt x="114101" y="101547"/>
                    <a:pt x="129672" y="101547"/>
                  </a:cubicBezTo>
                  <a:close/>
                  <a:moveTo>
                    <a:pt x="231067" y="101547"/>
                  </a:moveTo>
                  <a:cubicBezTo>
                    <a:pt x="246639" y="101547"/>
                    <a:pt x="259261" y="114170"/>
                    <a:pt x="259261" y="129741"/>
                  </a:cubicBezTo>
                  <a:cubicBezTo>
                    <a:pt x="259261" y="145313"/>
                    <a:pt x="246639" y="157936"/>
                    <a:pt x="231067" y="157936"/>
                  </a:cubicBezTo>
                  <a:cubicBezTo>
                    <a:pt x="215494" y="157936"/>
                    <a:pt x="202872" y="145313"/>
                    <a:pt x="202872" y="129741"/>
                  </a:cubicBezTo>
                  <a:cubicBezTo>
                    <a:pt x="202872" y="114170"/>
                    <a:pt x="215494" y="101547"/>
                    <a:pt x="231067" y="101547"/>
                  </a:cubicBezTo>
                  <a:close/>
                </a:path>
              </a:pathLst>
            </a:custGeom>
            <a:gradFill flip="none" rotWithShape="1">
              <a:gsLst>
                <a:gs pos="0">
                  <a:srgbClr val="0078D4"/>
                </a:gs>
                <a:gs pos="100000">
                  <a:srgbClr val="C53FCC"/>
                </a:gs>
              </a:gsLst>
              <a:lin ang="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lIns="704088" tIns="45720" rIns="91440" bIns="45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white"/>
                </a:solidFill>
                <a:effectLst/>
                <a:uLnTx/>
                <a:uFillTx/>
                <a:latin typeface="Segoe UI Semibold"/>
                <a:ea typeface="+mn-ea"/>
                <a:cs typeface="+mn-cs"/>
              </a:endParaRPr>
            </a:p>
          </p:txBody>
        </p:sp>
      </p:grpSp>
      <p:grpSp>
        <p:nvGrpSpPr>
          <p:cNvPr id="40" name="Group 39">
            <a:extLst>
              <a:ext uri="{FF2B5EF4-FFF2-40B4-BE49-F238E27FC236}">
                <a16:creationId xmlns:a16="http://schemas.microsoft.com/office/drawing/2014/main" id="{81CD9DBD-A475-98C8-9994-9CC46EBBF6E4}"/>
              </a:ext>
              <a:ext uri="{C183D7F6-B498-43B3-948B-1728B52AA6E4}">
                <adec:decorative xmlns:adec="http://schemas.microsoft.com/office/drawing/2017/decorative" val="1"/>
              </a:ext>
            </a:extLst>
          </p:cNvPr>
          <p:cNvGrpSpPr/>
          <p:nvPr/>
        </p:nvGrpSpPr>
        <p:grpSpPr>
          <a:xfrm>
            <a:off x="9914528" y="1937352"/>
            <a:ext cx="854618" cy="854618"/>
            <a:chOff x="9811658" y="1893810"/>
            <a:chExt cx="854618" cy="854618"/>
          </a:xfrm>
        </p:grpSpPr>
        <p:sp>
          <p:nvSpPr>
            <p:cNvPr id="24" name="Oval 23">
              <a:extLst>
                <a:ext uri="{FF2B5EF4-FFF2-40B4-BE49-F238E27FC236}">
                  <a16:creationId xmlns:a16="http://schemas.microsoft.com/office/drawing/2014/main" id="{DA506830-9E44-8890-1F94-2C5CAFA27A9E}"/>
                </a:ext>
              </a:extLst>
            </p:cNvPr>
            <p:cNvSpPr>
              <a:spLocks/>
            </p:cNvSpPr>
            <p:nvPr/>
          </p:nvSpPr>
          <p:spPr bwMode="auto">
            <a:xfrm>
              <a:off x="9811658" y="1893810"/>
              <a:ext cx="854618" cy="854618"/>
            </a:xfrm>
            <a:prstGeom prst="ellipse">
              <a:avLst/>
            </a:prstGeom>
            <a:solidFill>
              <a:schemeClr val="bg1"/>
            </a:solidFill>
            <a:ln w="19050">
              <a:gradFill>
                <a:gsLst>
                  <a:gs pos="100000">
                    <a:srgbClr val="C03BC4"/>
                  </a:gs>
                  <a:gs pos="0">
                    <a:srgbClr val="0078D4"/>
                  </a:gs>
                </a:gsLst>
                <a:lin ang="0" scaled="0"/>
              </a:gradFill>
            </a:ln>
            <a:effectLst>
              <a:outerShdw blurRad="177800" dist="25400" algn="tl" rotWithShape="0">
                <a:prstClr val="black">
                  <a:alpha val="5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36" name="Graphic 9" descr="Icon of a warning sign">
              <a:extLst>
                <a:ext uri="{FF2B5EF4-FFF2-40B4-BE49-F238E27FC236}">
                  <a16:creationId xmlns:a16="http://schemas.microsoft.com/office/drawing/2014/main" id="{3DB1435D-DBED-456D-D2E1-887C8CB417FD}"/>
                </a:ext>
              </a:extLst>
            </p:cNvPr>
            <p:cNvSpPr/>
            <p:nvPr/>
          </p:nvSpPr>
          <p:spPr>
            <a:xfrm>
              <a:off x="10024584" y="2122875"/>
              <a:ext cx="428768" cy="396488"/>
            </a:xfrm>
            <a:custGeom>
              <a:avLst/>
              <a:gdLst>
                <a:gd name="connsiteX0" fmla="*/ 118550 w 266105"/>
                <a:gd name="connsiteY0" fmla="*/ 3748 h 246072"/>
                <a:gd name="connsiteX1" fmla="*/ 158102 w 266105"/>
                <a:gd name="connsiteY1" fmla="*/ 13586 h 246072"/>
                <a:gd name="connsiteX2" fmla="*/ 159206 w 266105"/>
                <a:gd name="connsiteY2" fmla="*/ 15420 h 246072"/>
                <a:gd name="connsiteX3" fmla="*/ 262360 w 266105"/>
                <a:gd name="connsiteY3" fmla="*/ 201668 h 246072"/>
                <a:gd name="connsiteX4" fmla="*/ 250669 w 266105"/>
                <a:gd name="connsiteY4" fmla="*/ 242323 h 246072"/>
                <a:gd name="connsiteX5" fmla="*/ 238243 w 266105"/>
                <a:gd name="connsiteY5" fmla="*/ 245993 h 246072"/>
                <a:gd name="connsiteX6" fmla="*/ 236196 w 266105"/>
                <a:gd name="connsiteY6" fmla="*/ 246072 h 246072"/>
                <a:gd name="connsiteX7" fmla="*/ 29913 w 266105"/>
                <a:gd name="connsiteY7" fmla="*/ 246072 h 246072"/>
                <a:gd name="connsiteX8" fmla="*/ 0 w 266105"/>
                <a:gd name="connsiteY8" fmla="*/ 216159 h 246072"/>
                <a:gd name="connsiteX9" fmla="*/ 2779 w 266105"/>
                <a:gd name="connsiteY9" fmla="*/ 203569 h 246072"/>
                <a:gd name="connsiteX10" fmla="*/ 3736 w 266105"/>
                <a:gd name="connsiteY10" fmla="*/ 201668 h 246072"/>
                <a:gd name="connsiteX11" fmla="*/ 106864 w 266105"/>
                <a:gd name="connsiteY11" fmla="*/ 15420 h 246072"/>
                <a:gd name="connsiteX12" fmla="*/ 118537 w 266105"/>
                <a:gd name="connsiteY12" fmla="*/ 3748 h 246072"/>
                <a:gd name="connsiteX13" fmla="*/ 244917 w 266105"/>
                <a:gd name="connsiteY13" fmla="*/ 211320 h 246072"/>
                <a:gd name="connsiteX14" fmla="*/ 141750 w 266105"/>
                <a:gd name="connsiteY14" fmla="*/ 25086 h 246072"/>
                <a:gd name="connsiteX15" fmla="*/ 128191 w 266105"/>
                <a:gd name="connsiteY15" fmla="*/ 21211 h 246072"/>
                <a:gd name="connsiteX16" fmla="*/ 125078 w 266105"/>
                <a:gd name="connsiteY16" fmla="*/ 23916 h 246072"/>
                <a:gd name="connsiteX17" fmla="*/ 124320 w 266105"/>
                <a:gd name="connsiteY17" fmla="*/ 25086 h 246072"/>
                <a:gd name="connsiteX18" fmla="*/ 21192 w 266105"/>
                <a:gd name="connsiteY18" fmla="*/ 211320 h 246072"/>
                <a:gd name="connsiteX19" fmla="*/ 25070 w 266105"/>
                <a:gd name="connsiteY19" fmla="*/ 224878 h 246072"/>
                <a:gd name="connsiteX20" fmla="*/ 28650 w 266105"/>
                <a:gd name="connsiteY20" fmla="*/ 226050 h 246072"/>
                <a:gd name="connsiteX21" fmla="*/ 29913 w 266105"/>
                <a:gd name="connsiteY21" fmla="*/ 226130 h 246072"/>
                <a:gd name="connsiteX22" fmla="*/ 236196 w 266105"/>
                <a:gd name="connsiteY22" fmla="*/ 226130 h 246072"/>
                <a:gd name="connsiteX23" fmla="*/ 246159 w 266105"/>
                <a:gd name="connsiteY23" fmla="*/ 216151 h 246072"/>
                <a:gd name="connsiteX24" fmla="*/ 245449 w 266105"/>
                <a:gd name="connsiteY24" fmla="*/ 212463 h 246072"/>
                <a:gd name="connsiteX25" fmla="*/ 244917 w 266105"/>
                <a:gd name="connsiteY25" fmla="*/ 211320 h 246072"/>
                <a:gd name="connsiteX26" fmla="*/ 141750 w 266105"/>
                <a:gd name="connsiteY26" fmla="*/ 25086 h 246072"/>
                <a:gd name="connsiteX27" fmla="*/ 244917 w 266105"/>
                <a:gd name="connsiteY27" fmla="*/ 211320 h 246072"/>
                <a:gd name="connsiteX28" fmla="*/ 133041 w 266105"/>
                <a:gd name="connsiteY28" fmla="*/ 179505 h 246072"/>
                <a:gd name="connsiteX29" fmla="*/ 146736 w 266105"/>
                <a:gd name="connsiteY29" fmla="*/ 192360 h 246072"/>
                <a:gd name="connsiteX30" fmla="*/ 133882 w 266105"/>
                <a:gd name="connsiteY30" fmla="*/ 206055 h 246072"/>
                <a:gd name="connsiteX31" fmla="*/ 133041 w 266105"/>
                <a:gd name="connsiteY31" fmla="*/ 206055 h 246072"/>
                <a:gd name="connsiteX32" fmla="*/ 120187 w 266105"/>
                <a:gd name="connsiteY32" fmla="*/ 192360 h 246072"/>
                <a:gd name="connsiteX33" fmla="*/ 133041 w 266105"/>
                <a:gd name="connsiteY33" fmla="*/ 179505 h 246072"/>
                <a:gd name="connsiteX34" fmla="*/ 132975 w 266105"/>
                <a:gd name="connsiteY34" fmla="*/ 79767 h 246072"/>
                <a:gd name="connsiteX35" fmla="*/ 142866 w 266105"/>
                <a:gd name="connsiteY35" fmla="*/ 88369 h 246072"/>
                <a:gd name="connsiteX36" fmla="*/ 142959 w 266105"/>
                <a:gd name="connsiteY36" fmla="*/ 89725 h 246072"/>
                <a:gd name="connsiteX37" fmla="*/ 143013 w 266105"/>
                <a:gd name="connsiteY37" fmla="*/ 149579 h 246072"/>
                <a:gd name="connsiteX38" fmla="*/ 133158 w 266105"/>
                <a:gd name="connsiteY38" fmla="*/ 159665 h 246072"/>
                <a:gd name="connsiteX39" fmla="*/ 123150 w 266105"/>
                <a:gd name="connsiteY39" fmla="*/ 150948 h 246072"/>
                <a:gd name="connsiteX40" fmla="*/ 123070 w 266105"/>
                <a:gd name="connsiteY40" fmla="*/ 149592 h 246072"/>
                <a:gd name="connsiteX41" fmla="*/ 123017 w 266105"/>
                <a:gd name="connsiteY41" fmla="*/ 89738 h 246072"/>
                <a:gd name="connsiteX42" fmla="*/ 132988 w 266105"/>
                <a:gd name="connsiteY42" fmla="*/ 79767 h 2460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266105" h="246072">
                  <a:moveTo>
                    <a:pt x="118550" y="3748"/>
                  </a:moveTo>
                  <a:cubicBezTo>
                    <a:pt x="132274" y="-3852"/>
                    <a:pt x="149538" y="442"/>
                    <a:pt x="158102" y="13586"/>
                  </a:cubicBezTo>
                  <a:lnTo>
                    <a:pt x="159206" y="15420"/>
                  </a:lnTo>
                  <a:lnTo>
                    <a:pt x="262360" y="201668"/>
                  </a:lnTo>
                  <a:cubicBezTo>
                    <a:pt x="270358" y="216123"/>
                    <a:pt x="265124" y="234325"/>
                    <a:pt x="250669" y="242323"/>
                  </a:cubicBezTo>
                  <a:cubicBezTo>
                    <a:pt x="246845" y="244440"/>
                    <a:pt x="242604" y="245692"/>
                    <a:pt x="238243" y="245993"/>
                  </a:cubicBezTo>
                  <a:lnTo>
                    <a:pt x="236196" y="246072"/>
                  </a:lnTo>
                  <a:lnTo>
                    <a:pt x="29913" y="246072"/>
                  </a:lnTo>
                  <a:cubicBezTo>
                    <a:pt x="13393" y="246072"/>
                    <a:pt x="0" y="232679"/>
                    <a:pt x="0" y="216159"/>
                  </a:cubicBezTo>
                  <a:cubicBezTo>
                    <a:pt x="0" y="211810"/>
                    <a:pt x="948" y="207513"/>
                    <a:pt x="2779" y="203569"/>
                  </a:cubicBezTo>
                  <a:lnTo>
                    <a:pt x="3736" y="201668"/>
                  </a:lnTo>
                  <a:lnTo>
                    <a:pt x="106864" y="15420"/>
                  </a:lnTo>
                  <a:cubicBezTo>
                    <a:pt x="109583" y="10512"/>
                    <a:pt x="113628" y="6467"/>
                    <a:pt x="118537" y="3748"/>
                  </a:cubicBezTo>
                  <a:close/>
                  <a:moveTo>
                    <a:pt x="244917" y="211320"/>
                  </a:moveTo>
                  <a:lnTo>
                    <a:pt x="141750" y="25086"/>
                  </a:lnTo>
                  <a:cubicBezTo>
                    <a:pt x="139076" y="20272"/>
                    <a:pt x="133006" y="18537"/>
                    <a:pt x="128191" y="21211"/>
                  </a:cubicBezTo>
                  <a:cubicBezTo>
                    <a:pt x="126976" y="21886"/>
                    <a:pt x="125915" y="22807"/>
                    <a:pt x="125078" y="23916"/>
                  </a:cubicBezTo>
                  <a:lnTo>
                    <a:pt x="124320" y="25086"/>
                  </a:lnTo>
                  <a:lnTo>
                    <a:pt x="21192" y="211320"/>
                  </a:lnTo>
                  <a:cubicBezTo>
                    <a:pt x="18519" y="216135"/>
                    <a:pt x="20256" y="222204"/>
                    <a:pt x="25070" y="224878"/>
                  </a:cubicBezTo>
                  <a:cubicBezTo>
                    <a:pt x="26178" y="225492"/>
                    <a:pt x="27393" y="225891"/>
                    <a:pt x="28650" y="226050"/>
                  </a:cubicBezTo>
                  <a:lnTo>
                    <a:pt x="29913" y="226130"/>
                  </a:lnTo>
                  <a:lnTo>
                    <a:pt x="236196" y="226130"/>
                  </a:lnTo>
                  <a:cubicBezTo>
                    <a:pt x="241703" y="226126"/>
                    <a:pt x="246163" y="221658"/>
                    <a:pt x="246159" y="216151"/>
                  </a:cubicBezTo>
                  <a:cubicBezTo>
                    <a:pt x="246159" y="214888"/>
                    <a:pt x="245917" y="213637"/>
                    <a:pt x="245449" y="212463"/>
                  </a:cubicBezTo>
                  <a:lnTo>
                    <a:pt x="244917" y="211320"/>
                  </a:lnTo>
                  <a:lnTo>
                    <a:pt x="141750" y="25086"/>
                  </a:lnTo>
                  <a:lnTo>
                    <a:pt x="244917" y="211320"/>
                  </a:lnTo>
                  <a:close/>
                  <a:moveTo>
                    <a:pt x="133041" y="179505"/>
                  </a:moveTo>
                  <a:cubicBezTo>
                    <a:pt x="140374" y="179273"/>
                    <a:pt x="146504" y="185028"/>
                    <a:pt x="146736" y="192360"/>
                  </a:cubicBezTo>
                  <a:cubicBezTo>
                    <a:pt x="146969" y="199692"/>
                    <a:pt x="141214" y="205822"/>
                    <a:pt x="133882" y="206055"/>
                  </a:cubicBezTo>
                  <a:cubicBezTo>
                    <a:pt x="133601" y="206064"/>
                    <a:pt x="133322" y="206064"/>
                    <a:pt x="133041" y="206055"/>
                  </a:cubicBezTo>
                  <a:cubicBezTo>
                    <a:pt x="125709" y="205822"/>
                    <a:pt x="119954" y="199692"/>
                    <a:pt x="120187" y="192360"/>
                  </a:cubicBezTo>
                  <a:cubicBezTo>
                    <a:pt x="120409" y="185355"/>
                    <a:pt x="126036" y="179727"/>
                    <a:pt x="133041" y="179505"/>
                  </a:cubicBezTo>
                  <a:close/>
                  <a:moveTo>
                    <a:pt x="132975" y="79767"/>
                  </a:moveTo>
                  <a:cubicBezTo>
                    <a:pt x="137958" y="79760"/>
                    <a:pt x="142182" y="83433"/>
                    <a:pt x="142866" y="88369"/>
                  </a:cubicBezTo>
                  <a:lnTo>
                    <a:pt x="142959" y="89725"/>
                  </a:lnTo>
                  <a:lnTo>
                    <a:pt x="143013" y="149579"/>
                  </a:lnTo>
                  <a:cubicBezTo>
                    <a:pt x="143076" y="155085"/>
                    <a:pt x="138665" y="159602"/>
                    <a:pt x="133158" y="159665"/>
                  </a:cubicBezTo>
                  <a:cubicBezTo>
                    <a:pt x="128092" y="159724"/>
                    <a:pt x="123787" y="155975"/>
                    <a:pt x="123150" y="150948"/>
                  </a:cubicBezTo>
                  <a:lnTo>
                    <a:pt x="123070" y="149592"/>
                  </a:lnTo>
                  <a:lnTo>
                    <a:pt x="123017" y="89738"/>
                  </a:lnTo>
                  <a:cubicBezTo>
                    <a:pt x="123017" y="84232"/>
                    <a:pt x="127482" y="79767"/>
                    <a:pt x="132988" y="79767"/>
                  </a:cubicBezTo>
                  <a:close/>
                </a:path>
              </a:pathLst>
            </a:custGeom>
            <a:gradFill flip="none" rotWithShape="1">
              <a:gsLst>
                <a:gs pos="0">
                  <a:srgbClr val="0078D4"/>
                </a:gs>
                <a:gs pos="100000">
                  <a:srgbClr val="C53FCC"/>
                </a:gs>
              </a:gsLst>
              <a:lin ang="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lIns="704088" tIns="45720" rIns="91440" bIns="45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white"/>
                </a:solidFill>
                <a:effectLst/>
                <a:uLnTx/>
                <a:uFillTx/>
                <a:latin typeface="Segoe UI Semibold"/>
                <a:ea typeface="+mn-ea"/>
                <a:cs typeface="+mn-cs"/>
              </a:endParaRPr>
            </a:p>
          </p:txBody>
        </p:sp>
      </p:grpSp>
    </p:spTree>
    <p:extLst>
      <p:ext uri="{BB962C8B-B14F-4D97-AF65-F5344CB8AC3E}">
        <p14:creationId xmlns:p14="http://schemas.microsoft.com/office/powerpoint/2010/main" val="117767011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a:extLst>
            <a:ext uri="{FF2B5EF4-FFF2-40B4-BE49-F238E27FC236}">
              <a16:creationId xmlns:a16="http://schemas.microsoft.com/office/drawing/2014/main" id="{44E6CC3B-2F4A-35C4-5175-51646B4A00D4}"/>
            </a:ext>
          </a:extLst>
        </p:cNvPr>
        <p:cNvGrpSpPr/>
        <p:nvPr/>
      </p:nvGrpSpPr>
      <p:grpSpPr>
        <a:xfrm>
          <a:off x="0" y="0"/>
          <a:ext cx="0" cy="0"/>
          <a:chOff x="0" y="0"/>
          <a:chExt cx="0" cy="0"/>
        </a:xfrm>
      </p:grpSpPr>
      <p:pic>
        <p:nvPicPr>
          <p:cNvPr id="16" name="Picture 15">
            <a:extLst>
              <a:ext uri="{FF2B5EF4-FFF2-40B4-BE49-F238E27FC236}">
                <a16:creationId xmlns:a16="http://schemas.microsoft.com/office/drawing/2014/main" id="{D14B2EFC-D4EE-8EF5-0E98-4B84766CEC59}"/>
              </a:ext>
              <a:ext uri="{C183D7F6-B498-43B3-948B-1728B52AA6E4}">
                <adec:decorative xmlns:adec="http://schemas.microsoft.com/office/drawing/2017/decorative" val="1"/>
              </a:ext>
            </a:extLst>
          </p:cNvPr>
          <p:cNvPicPr>
            <a:picLocks noChangeAspect="1"/>
          </p:cNvPicPr>
          <p:nvPr/>
        </p:nvPicPr>
        <p:blipFill>
          <a:blip r:embed="rId4" cstate="screen">
            <a:extLst>
              <a:ext uri="{28A0092B-C50C-407E-A947-70E740481C1C}">
                <a14:useLocalDpi xmlns:a14="http://schemas.microsoft.com/office/drawing/2010/main"/>
              </a:ext>
            </a:extLst>
          </a:blip>
          <a:srcRect/>
          <a:stretch>
            <a:fillRect/>
          </a:stretch>
        </p:blipFill>
        <p:spPr>
          <a:xfrm>
            <a:off x="8564811" y="0"/>
            <a:ext cx="3627189" cy="2380343"/>
          </a:xfrm>
          <a:prstGeom prst="rect">
            <a:avLst/>
          </a:prstGeom>
        </p:spPr>
      </p:pic>
      <p:sp>
        <p:nvSpPr>
          <p:cNvPr id="3" name="Rectangle: Rounded Corners 50">
            <a:extLst>
              <a:ext uri="{FF2B5EF4-FFF2-40B4-BE49-F238E27FC236}">
                <a16:creationId xmlns:a16="http://schemas.microsoft.com/office/drawing/2014/main" id="{B92D57DE-F496-4C6A-07F1-75FEA28506FA}"/>
              </a:ext>
              <a:ext uri="{C183D7F6-B498-43B3-948B-1728B52AA6E4}">
                <adec:decorative xmlns:adec="http://schemas.microsoft.com/office/drawing/2017/decorative" val="1"/>
              </a:ext>
            </a:extLst>
          </p:cNvPr>
          <p:cNvSpPr>
            <a:spLocks/>
          </p:cNvSpPr>
          <p:nvPr/>
        </p:nvSpPr>
        <p:spPr bwMode="auto">
          <a:xfrm>
            <a:off x="503464" y="1436688"/>
            <a:ext cx="11185072" cy="4849812"/>
          </a:xfrm>
          <a:prstGeom prst="roundRect">
            <a:avLst>
              <a:gd name="adj" fmla="val 3527"/>
            </a:avLst>
          </a:prstGeom>
          <a:solidFill>
            <a:schemeClr val="bg1"/>
          </a:solidFill>
          <a:ln>
            <a:noFill/>
          </a:ln>
          <a:effectLst>
            <a:outerShdw blurRad="228600" dist="63500" dir="2700000" algn="tl" rotWithShape="0">
              <a:prstClr val="black">
                <a:alpha val="1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base" latinLnBrk="0" hangingPunct="1">
              <a:lnSpc>
                <a:spcPct val="100000"/>
              </a:lnSpc>
              <a:spcBef>
                <a:spcPct val="0"/>
              </a:spcBef>
              <a:spcAft>
                <a:spcPts val="1200"/>
              </a:spcAft>
              <a:buClrTx/>
              <a:buSzTx/>
              <a:buFontTx/>
              <a:buNone/>
              <a:tabLst>
                <a:tab pos="457200" algn="l"/>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cxnSp>
        <p:nvCxnSpPr>
          <p:cNvPr id="13" name="Straight Connector 12">
            <a:extLst>
              <a:ext uri="{FF2B5EF4-FFF2-40B4-BE49-F238E27FC236}">
                <a16:creationId xmlns:a16="http://schemas.microsoft.com/office/drawing/2014/main" id="{48C06594-EF56-76AF-F461-8B2D4EB06F1E}"/>
              </a:ext>
              <a:ext uri="{C183D7F6-B498-43B3-948B-1728B52AA6E4}">
                <adec:decorative xmlns:adec="http://schemas.microsoft.com/office/drawing/2017/decorative" val="1"/>
              </a:ext>
            </a:extLst>
          </p:cNvPr>
          <p:cNvCxnSpPr>
            <a:cxnSpLocks/>
          </p:cNvCxnSpPr>
          <p:nvPr/>
        </p:nvCxnSpPr>
        <p:spPr>
          <a:xfrm>
            <a:off x="1447801" y="4492536"/>
            <a:ext cx="9988183" cy="0"/>
          </a:xfrm>
          <a:prstGeom prst="line">
            <a:avLst/>
          </a:prstGeom>
          <a:ln w="12700">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20" name="Group 19">
            <a:extLst>
              <a:ext uri="{FF2B5EF4-FFF2-40B4-BE49-F238E27FC236}">
                <a16:creationId xmlns:a16="http://schemas.microsoft.com/office/drawing/2014/main" id="{B104D3EA-A255-A3C2-4E80-B09B37BF8C12}"/>
              </a:ext>
              <a:ext uri="{C183D7F6-B498-43B3-948B-1728B52AA6E4}">
                <adec:decorative xmlns:adec="http://schemas.microsoft.com/office/drawing/2017/decorative" val="1"/>
              </a:ext>
            </a:extLst>
          </p:cNvPr>
          <p:cNvGrpSpPr/>
          <p:nvPr/>
        </p:nvGrpSpPr>
        <p:grpSpPr>
          <a:xfrm>
            <a:off x="686345" y="1619568"/>
            <a:ext cx="549017" cy="549017"/>
            <a:chOff x="756015" y="1673775"/>
            <a:chExt cx="549017" cy="549017"/>
          </a:xfrm>
        </p:grpSpPr>
        <p:sp>
          <p:nvSpPr>
            <p:cNvPr id="4" name="Oval 3">
              <a:extLst>
                <a:ext uri="{FF2B5EF4-FFF2-40B4-BE49-F238E27FC236}">
                  <a16:creationId xmlns:a16="http://schemas.microsoft.com/office/drawing/2014/main" id="{C7E74C7E-12B7-89B6-EB12-012AE91FDF06}"/>
                </a:ext>
              </a:extLst>
            </p:cNvPr>
            <p:cNvSpPr>
              <a:spLocks/>
            </p:cNvSpPr>
            <p:nvPr/>
          </p:nvSpPr>
          <p:spPr bwMode="auto">
            <a:xfrm>
              <a:off x="756015" y="1673775"/>
              <a:ext cx="549017" cy="549017"/>
            </a:xfrm>
            <a:prstGeom prst="ellipse">
              <a:avLst/>
            </a:prstGeom>
            <a:solidFill>
              <a:schemeClr val="bg1"/>
            </a:solidFill>
            <a:ln w="19050">
              <a:gradFill>
                <a:gsLst>
                  <a:gs pos="100000">
                    <a:srgbClr val="C03BC4"/>
                  </a:gs>
                  <a:gs pos="0">
                    <a:srgbClr val="0078D4"/>
                  </a:gs>
                </a:gsLst>
                <a:lin ang="0" scaled="0"/>
              </a:gradFill>
            </a:ln>
            <a:effectLst>
              <a:outerShdw blurRad="177800" dist="25400" algn="tl" rotWithShape="0">
                <a:prstClr val="black">
                  <a:alpha val="5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8" name="Graphic 65" descr="Icon of a person standing behind a podium">
              <a:extLst>
                <a:ext uri="{FF2B5EF4-FFF2-40B4-BE49-F238E27FC236}">
                  <a16:creationId xmlns:a16="http://schemas.microsoft.com/office/drawing/2014/main" id="{1263CC9A-A4B8-4D2F-4542-9167FAA98C3F}"/>
                </a:ext>
              </a:extLst>
            </p:cNvPr>
            <p:cNvSpPr>
              <a:spLocks noChangeAspect="1"/>
            </p:cNvSpPr>
            <p:nvPr/>
          </p:nvSpPr>
          <p:spPr>
            <a:xfrm>
              <a:off x="901913" y="1805341"/>
              <a:ext cx="257220" cy="285884"/>
            </a:xfrm>
            <a:custGeom>
              <a:avLst/>
              <a:gdLst>
                <a:gd name="connsiteX0" fmla="*/ 309271 w 322746"/>
                <a:gd name="connsiteY0" fmla="*/ 197191 h 358713"/>
                <a:gd name="connsiteX1" fmla="*/ 317677 w 322746"/>
                <a:gd name="connsiteY1" fmla="*/ 221139 h 358713"/>
                <a:gd name="connsiteX2" fmla="*/ 233076 w 322746"/>
                <a:gd name="connsiteY2" fmla="*/ 288881 h 358713"/>
                <a:gd name="connsiteX3" fmla="*/ 233076 w 322746"/>
                <a:gd name="connsiteY3" fmla="*/ 318367 h 358713"/>
                <a:gd name="connsiteX4" fmla="*/ 192729 w 322746"/>
                <a:gd name="connsiteY4" fmla="*/ 358714 h 358713"/>
                <a:gd name="connsiteX5" fmla="*/ 130049 w 322746"/>
                <a:gd name="connsiteY5" fmla="*/ 358714 h 358713"/>
                <a:gd name="connsiteX6" fmla="*/ 89703 w 322746"/>
                <a:gd name="connsiteY6" fmla="*/ 318367 h 358713"/>
                <a:gd name="connsiteX7" fmla="*/ 89703 w 322746"/>
                <a:gd name="connsiteY7" fmla="*/ 288883 h 358713"/>
                <a:gd name="connsiteX8" fmla="*/ 5071 w 322746"/>
                <a:gd name="connsiteY8" fmla="*/ 221141 h 358713"/>
                <a:gd name="connsiteX9" fmla="*/ 13476 w 322746"/>
                <a:gd name="connsiteY9" fmla="*/ 197191 h 358713"/>
                <a:gd name="connsiteX10" fmla="*/ 309271 w 322746"/>
                <a:gd name="connsiteY10" fmla="*/ 197191 h 358713"/>
                <a:gd name="connsiteX11" fmla="*/ 270957 w 322746"/>
                <a:gd name="connsiteY11" fmla="*/ 224089 h 358713"/>
                <a:gd name="connsiteX12" fmla="*/ 51799 w 322746"/>
                <a:gd name="connsiteY12" fmla="*/ 224089 h 358713"/>
                <a:gd name="connsiteX13" fmla="*/ 111556 w 322746"/>
                <a:gd name="connsiteY13" fmla="*/ 271921 h 358713"/>
                <a:gd name="connsiteX14" fmla="*/ 116601 w 322746"/>
                <a:gd name="connsiteY14" fmla="*/ 282420 h 358713"/>
                <a:gd name="connsiteX15" fmla="*/ 116601 w 322746"/>
                <a:gd name="connsiteY15" fmla="*/ 318367 h 358713"/>
                <a:gd name="connsiteX16" fmla="*/ 130049 w 322746"/>
                <a:gd name="connsiteY16" fmla="*/ 331816 h 358713"/>
                <a:gd name="connsiteX17" fmla="*/ 192729 w 322746"/>
                <a:gd name="connsiteY17" fmla="*/ 331816 h 358713"/>
                <a:gd name="connsiteX18" fmla="*/ 206178 w 322746"/>
                <a:gd name="connsiteY18" fmla="*/ 318367 h 358713"/>
                <a:gd name="connsiteX19" fmla="*/ 206178 w 322746"/>
                <a:gd name="connsiteY19" fmla="*/ 282420 h 358713"/>
                <a:gd name="connsiteX20" fmla="*/ 211220 w 322746"/>
                <a:gd name="connsiteY20" fmla="*/ 271923 h 358713"/>
                <a:gd name="connsiteX21" fmla="*/ 270957 w 322746"/>
                <a:gd name="connsiteY21" fmla="*/ 224089 h 358713"/>
                <a:gd name="connsiteX22" fmla="*/ 103152 w 322746"/>
                <a:gd name="connsiteY22" fmla="*/ 125516 h 358713"/>
                <a:gd name="connsiteX23" fmla="*/ 219614 w 322746"/>
                <a:gd name="connsiteY23" fmla="*/ 125516 h 358713"/>
                <a:gd name="connsiteX24" fmla="*/ 250891 w 322746"/>
                <a:gd name="connsiteY24" fmla="*/ 154323 h 358713"/>
                <a:gd name="connsiteX25" fmla="*/ 250995 w 322746"/>
                <a:gd name="connsiteY25" fmla="*/ 156896 h 358713"/>
                <a:gd name="connsiteX26" fmla="*/ 250995 w 322746"/>
                <a:gd name="connsiteY26" fmla="*/ 179311 h 358713"/>
                <a:gd name="connsiteX27" fmla="*/ 224097 w 322746"/>
                <a:gd name="connsiteY27" fmla="*/ 179311 h 358713"/>
                <a:gd name="connsiteX28" fmla="*/ 224097 w 322746"/>
                <a:gd name="connsiteY28" fmla="*/ 156896 h 358713"/>
                <a:gd name="connsiteX29" fmla="*/ 220644 w 322746"/>
                <a:gd name="connsiteY29" fmla="*/ 152531 h 358713"/>
                <a:gd name="connsiteX30" fmla="*/ 219614 w 322746"/>
                <a:gd name="connsiteY30" fmla="*/ 152413 h 358713"/>
                <a:gd name="connsiteX31" fmla="*/ 103152 w 322746"/>
                <a:gd name="connsiteY31" fmla="*/ 152413 h 358713"/>
                <a:gd name="connsiteX32" fmla="*/ 98787 w 322746"/>
                <a:gd name="connsiteY32" fmla="*/ 155869 h 358713"/>
                <a:gd name="connsiteX33" fmla="*/ 98669 w 322746"/>
                <a:gd name="connsiteY33" fmla="*/ 156896 h 358713"/>
                <a:gd name="connsiteX34" fmla="*/ 98669 w 322746"/>
                <a:gd name="connsiteY34" fmla="*/ 179311 h 358713"/>
                <a:gd name="connsiteX35" fmla="*/ 71771 w 322746"/>
                <a:gd name="connsiteY35" fmla="*/ 179311 h 358713"/>
                <a:gd name="connsiteX36" fmla="*/ 71771 w 322746"/>
                <a:gd name="connsiteY36" fmla="*/ 156896 h 358713"/>
                <a:gd name="connsiteX37" fmla="*/ 100578 w 322746"/>
                <a:gd name="connsiteY37" fmla="*/ 125620 h 358713"/>
                <a:gd name="connsiteX38" fmla="*/ 103152 w 322746"/>
                <a:gd name="connsiteY38" fmla="*/ 125516 h 358713"/>
                <a:gd name="connsiteX39" fmla="*/ 219614 w 322746"/>
                <a:gd name="connsiteY39" fmla="*/ 125516 h 358713"/>
                <a:gd name="connsiteX40" fmla="*/ 103152 w 322746"/>
                <a:gd name="connsiteY40" fmla="*/ 125516 h 358713"/>
                <a:gd name="connsiteX41" fmla="*/ 161430 w 322746"/>
                <a:gd name="connsiteY41" fmla="*/ 0 h 358713"/>
                <a:gd name="connsiteX42" fmla="*/ 215226 w 322746"/>
                <a:gd name="connsiteY42" fmla="*/ 53796 h 358713"/>
                <a:gd name="connsiteX43" fmla="*/ 161430 w 322746"/>
                <a:gd name="connsiteY43" fmla="*/ 107592 h 358713"/>
                <a:gd name="connsiteX44" fmla="*/ 107635 w 322746"/>
                <a:gd name="connsiteY44" fmla="*/ 53796 h 358713"/>
                <a:gd name="connsiteX45" fmla="*/ 161430 w 322746"/>
                <a:gd name="connsiteY45" fmla="*/ 0 h 358713"/>
                <a:gd name="connsiteX46" fmla="*/ 161430 w 322746"/>
                <a:gd name="connsiteY46" fmla="*/ 26898 h 358713"/>
                <a:gd name="connsiteX47" fmla="*/ 134532 w 322746"/>
                <a:gd name="connsiteY47" fmla="*/ 53796 h 358713"/>
                <a:gd name="connsiteX48" fmla="*/ 161430 w 322746"/>
                <a:gd name="connsiteY48" fmla="*/ 80694 h 358713"/>
                <a:gd name="connsiteX49" fmla="*/ 188328 w 322746"/>
                <a:gd name="connsiteY49" fmla="*/ 53796 h 358713"/>
                <a:gd name="connsiteX50" fmla="*/ 161430 w 322746"/>
                <a:gd name="connsiteY50" fmla="*/ 26898 h 3587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322746" h="358713">
                  <a:moveTo>
                    <a:pt x="309271" y="197191"/>
                  </a:moveTo>
                  <a:cubicBezTo>
                    <a:pt x="321981" y="197191"/>
                    <a:pt x="327599" y="213194"/>
                    <a:pt x="317677" y="221139"/>
                  </a:cubicBezTo>
                  <a:lnTo>
                    <a:pt x="233076" y="288881"/>
                  </a:lnTo>
                  <a:lnTo>
                    <a:pt x="233076" y="318367"/>
                  </a:lnTo>
                  <a:cubicBezTo>
                    <a:pt x="233076" y="340651"/>
                    <a:pt x="215011" y="358714"/>
                    <a:pt x="192729" y="358714"/>
                  </a:cubicBezTo>
                  <a:lnTo>
                    <a:pt x="130049" y="358714"/>
                  </a:lnTo>
                  <a:cubicBezTo>
                    <a:pt x="107767" y="358714"/>
                    <a:pt x="89703" y="340651"/>
                    <a:pt x="89703" y="318367"/>
                  </a:cubicBezTo>
                  <a:lnTo>
                    <a:pt x="89703" y="288883"/>
                  </a:lnTo>
                  <a:lnTo>
                    <a:pt x="5071" y="221141"/>
                  </a:lnTo>
                  <a:cubicBezTo>
                    <a:pt x="-4852" y="213197"/>
                    <a:pt x="764" y="197191"/>
                    <a:pt x="13476" y="197191"/>
                  </a:cubicBezTo>
                  <a:lnTo>
                    <a:pt x="309271" y="197191"/>
                  </a:lnTo>
                  <a:close/>
                  <a:moveTo>
                    <a:pt x="270957" y="224089"/>
                  </a:moveTo>
                  <a:lnTo>
                    <a:pt x="51799" y="224089"/>
                  </a:lnTo>
                  <a:lnTo>
                    <a:pt x="111556" y="271921"/>
                  </a:lnTo>
                  <a:cubicBezTo>
                    <a:pt x="114745" y="274473"/>
                    <a:pt x="116601" y="278337"/>
                    <a:pt x="116601" y="282420"/>
                  </a:cubicBezTo>
                  <a:lnTo>
                    <a:pt x="116601" y="318367"/>
                  </a:lnTo>
                  <a:cubicBezTo>
                    <a:pt x="116601" y="325794"/>
                    <a:pt x="122622" y="331816"/>
                    <a:pt x="130049" y="331816"/>
                  </a:cubicBezTo>
                  <a:lnTo>
                    <a:pt x="192729" y="331816"/>
                  </a:lnTo>
                  <a:cubicBezTo>
                    <a:pt x="200156" y="331816"/>
                    <a:pt x="206178" y="325794"/>
                    <a:pt x="206178" y="318367"/>
                  </a:cubicBezTo>
                  <a:lnTo>
                    <a:pt x="206178" y="282420"/>
                  </a:lnTo>
                  <a:cubicBezTo>
                    <a:pt x="206178" y="278337"/>
                    <a:pt x="208034" y="274474"/>
                    <a:pt x="211220" y="271923"/>
                  </a:cubicBezTo>
                  <a:lnTo>
                    <a:pt x="270957" y="224089"/>
                  </a:lnTo>
                  <a:close/>
                  <a:moveTo>
                    <a:pt x="103152" y="125516"/>
                  </a:moveTo>
                  <a:lnTo>
                    <a:pt x="219614" y="125516"/>
                  </a:lnTo>
                  <a:cubicBezTo>
                    <a:pt x="236079" y="125516"/>
                    <a:pt x="249582" y="138196"/>
                    <a:pt x="250891" y="154323"/>
                  </a:cubicBezTo>
                  <a:lnTo>
                    <a:pt x="250995" y="156896"/>
                  </a:lnTo>
                  <a:lnTo>
                    <a:pt x="250995" y="179311"/>
                  </a:lnTo>
                  <a:lnTo>
                    <a:pt x="224097" y="179311"/>
                  </a:lnTo>
                  <a:lnTo>
                    <a:pt x="224097" y="156896"/>
                  </a:lnTo>
                  <a:cubicBezTo>
                    <a:pt x="224097" y="154775"/>
                    <a:pt x="222623" y="152998"/>
                    <a:pt x="220644" y="152531"/>
                  </a:cubicBezTo>
                  <a:lnTo>
                    <a:pt x="219614" y="152413"/>
                  </a:lnTo>
                  <a:lnTo>
                    <a:pt x="103152" y="152413"/>
                  </a:lnTo>
                  <a:cubicBezTo>
                    <a:pt x="101030" y="152413"/>
                    <a:pt x="99252" y="153889"/>
                    <a:pt x="98787" y="155869"/>
                  </a:cubicBezTo>
                  <a:lnTo>
                    <a:pt x="98669" y="156896"/>
                  </a:lnTo>
                  <a:lnTo>
                    <a:pt x="98669" y="179311"/>
                  </a:lnTo>
                  <a:lnTo>
                    <a:pt x="71771" y="179311"/>
                  </a:lnTo>
                  <a:lnTo>
                    <a:pt x="71771" y="156896"/>
                  </a:lnTo>
                  <a:cubicBezTo>
                    <a:pt x="71771" y="140432"/>
                    <a:pt x="84451" y="126929"/>
                    <a:pt x="100578" y="125620"/>
                  </a:cubicBezTo>
                  <a:lnTo>
                    <a:pt x="103152" y="125516"/>
                  </a:lnTo>
                  <a:lnTo>
                    <a:pt x="219614" y="125516"/>
                  </a:lnTo>
                  <a:lnTo>
                    <a:pt x="103152" y="125516"/>
                  </a:lnTo>
                  <a:close/>
                  <a:moveTo>
                    <a:pt x="161430" y="0"/>
                  </a:moveTo>
                  <a:cubicBezTo>
                    <a:pt x="191142" y="0"/>
                    <a:pt x="215226" y="24085"/>
                    <a:pt x="215226" y="53796"/>
                  </a:cubicBezTo>
                  <a:cubicBezTo>
                    <a:pt x="215226" y="83507"/>
                    <a:pt x="191142" y="107592"/>
                    <a:pt x="161430" y="107592"/>
                  </a:cubicBezTo>
                  <a:cubicBezTo>
                    <a:pt x="131721" y="107592"/>
                    <a:pt x="107635" y="83507"/>
                    <a:pt x="107635" y="53796"/>
                  </a:cubicBezTo>
                  <a:cubicBezTo>
                    <a:pt x="107635" y="24085"/>
                    <a:pt x="131721" y="0"/>
                    <a:pt x="161430" y="0"/>
                  </a:cubicBezTo>
                  <a:close/>
                  <a:moveTo>
                    <a:pt x="161430" y="26898"/>
                  </a:moveTo>
                  <a:cubicBezTo>
                    <a:pt x="146575" y="26898"/>
                    <a:pt x="134532" y="38941"/>
                    <a:pt x="134532" y="53796"/>
                  </a:cubicBezTo>
                  <a:cubicBezTo>
                    <a:pt x="134532" y="68651"/>
                    <a:pt x="146575" y="80694"/>
                    <a:pt x="161430" y="80694"/>
                  </a:cubicBezTo>
                  <a:cubicBezTo>
                    <a:pt x="176287" y="80694"/>
                    <a:pt x="188328" y="68651"/>
                    <a:pt x="188328" y="53796"/>
                  </a:cubicBezTo>
                  <a:cubicBezTo>
                    <a:pt x="188328" y="38941"/>
                    <a:pt x="176287" y="26898"/>
                    <a:pt x="161430" y="26898"/>
                  </a:cubicBezTo>
                  <a:close/>
                </a:path>
              </a:pathLst>
            </a:custGeom>
            <a:gradFill flip="none" rotWithShape="1">
              <a:gsLst>
                <a:gs pos="0">
                  <a:srgbClr val="0078D4"/>
                </a:gs>
                <a:gs pos="100000">
                  <a:srgbClr val="C53FCC"/>
                </a:gs>
              </a:gsLst>
              <a:lin ang="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lIns="704088" tIns="45720" rIns="91440" bIns="45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white"/>
                </a:solidFill>
                <a:effectLst/>
                <a:uLnTx/>
                <a:uFillTx/>
                <a:latin typeface="Segoe UI Semibold"/>
                <a:ea typeface="+mn-ea"/>
                <a:cs typeface="+mn-cs"/>
              </a:endParaRPr>
            </a:p>
          </p:txBody>
        </p:sp>
      </p:grpSp>
      <p:grpSp>
        <p:nvGrpSpPr>
          <p:cNvPr id="21" name="Group 20">
            <a:extLst>
              <a:ext uri="{FF2B5EF4-FFF2-40B4-BE49-F238E27FC236}">
                <a16:creationId xmlns:a16="http://schemas.microsoft.com/office/drawing/2014/main" id="{3C166827-02FF-AD9A-6415-0288AFE20B14}"/>
              </a:ext>
              <a:ext uri="{C183D7F6-B498-43B3-948B-1728B52AA6E4}">
                <adec:decorative xmlns:adec="http://schemas.microsoft.com/office/drawing/2017/decorative" val="1"/>
              </a:ext>
            </a:extLst>
          </p:cNvPr>
          <p:cNvGrpSpPr/>
          <p:nvPr/>
        </p:nvGrpSpPr>
        <p:grpSpPr>
          <a:xfrm>
            <a:off x="686345" y="4841736"/>
            <a:ext cx="549017" cy="549017"/>
            <a:chOff x="756015" y="4787529"/>
            <a:chExt cx="549017" cy="549017"/>
          </a:xfrm>
        </p:grpSpPr>
        <p:sp>
          <p:nvSpPr>
            <p:cNvPr id="9" name="Oval 8">
              <a:extLst>
                <a:ext uri="{FF2B5EF4-FFF2-40B4-BE49-F238E27FC236}">
                  <a16:creationId xmlns:a16="http://schemas.microsoft.com/office/drawing/2014/main" id="{98671AA9-BFB6-F80F-C1F5-75D434C70B20}"/>
                </a:ext>
              </a:extLst>
            </p:cNvPr>
            <p:cNvSpPr>
              <a:spLocks/>
            </p:cNvSpPr>
            <p:nvPr/>
          </p:nvSpPr>
          <p:spPr bwMode="auto">
            <a:xfrm>
              <a:off x="756015" y="4787529"/>
              <a:ext cx="549017" cy="549017"/>
            </a:xfrm>
            <a:prstGeom prst="ellipse">
              <a:avLst/>
            </a:prstGeom>
            <a:solidFill>
              <a:schemeClr val="bg1"/>
            </a:solidFill>
            <a:ln w="19050">
              <a:gradFill>
                <a:gsLst>
                  <a:gs pos="100000">
                    <a:srgbClr val="C03BC4"/>
                  </a:gs>
                  <a:gs pos="0">
                    <a:srgbClr val="0078D4"/>
                  </a:gs>
                </a:gsLst>
                <a:lin ang="0" scaled="0"/>
              </a:gradFill>
            </a:ln>
            <a:effectLst>
              <a:outerShdw blurRad="177800" dist="25400" algn="tl" rotWithShape="0">
                <a:prstClr val="black">
                  <a:alpha val="5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Segoe UI"/>
                <a:ea typeface="+mn-ea"/>
                <a:cs typeface="+mn-cs"/>
              </a:endParaRPr>
            </a:p>
          </p:txBody>
        </p:sp>
        <p:sp>
          <p:nvSpPr>
            <p:cNvPr id="19" name="Graphic 16" descr="Icon of a team of three people">
              <a:extLst>
                <a:ext uri="{FF2B5EF4-FFF2-40B4-BE49-F238E27FC236}">
                  <a16:creationId xmlns:a16="http://schemas.microsoft.com/office/drawing/2014/main" id="{E80FF001-296A-9FFA-CB7A-ED0D7376EE84}"/>
                </a:ext>
              </a:extLst>
            </p:cNvPr>
            <p:cNvSpPr/>
            <p:nvPr/>
          </p:nvSpPr>
          <p:spPr>
            <a:xfrm>
              <a:off x="880675" y="4927174"/>
              <a:ext cx="299696" cy="269726"/>
            </a:xfrm>
            <a:custGeom>
              <a:avLst/>
              <a:gdLst>
                <a:gd name="connsiteX0" fmla="*/ 216804 w 339978"/>
                <a:gd name="connsiteY0" fmla="*/ 118992 h 305980"/>
                <a:gd name="connsiteX1" fmla="*/ 246552 w 339978"/>
                <a:gd name="connsiteY1" fmla="*/ 148741 h 305980"/>
                <a:gd name="connsiteX2" fmla="*/ 246552 w 339978"/>
                <a:gd name="connsiteY2" fmla="*/ 229468 h 305980"/>
                <a:gd name="connsiteX3" fmla="*/ 170040 w 339978"/>
                <a:gd name="connsiteY3" fmla="*/ 305981 h 305980"/>
                <a:gd name="connsiteX4" fmla="*/ 93527 w 339978"/>
                <a:gd name="connsiteY4" fmla="*/ 229468 h 305980"/>
                <a:gd name="connsiteX5" fmla="*/ 93527 w 339978"/>
                <a:gd name="connsiteY5" fmla="*/ 148741 h 305980"/>
                <a:gd name="connsiteX6" fmla="*/ 123275 w 339978"/>
                <a:gd name="connsiteY6" fmla="*/ 118992 h 305980"/>
                <a:gd name="connsiteX7" fmla="*/ 216804 w 339978"/>
                <a:gd name="connsiteY7" fmla="*/ 118992 h 305980"/>
                <a:gd name="connsiteX8" fmla="*/ 216804 w 339978"/>
                <a:gd name="connsiteY8" fmla="*/ 144491 h 305980"/>
                <a:gd name="connsiteX9" fmla="*/ 123275 w 339978"/>
                <a:gd name="connsiteY9" fmla="*/ 144491 h 305980"/>
                <a:gd name="connsiteX10" fmla="*/ 119025 w 339978"/>
                <a:gd name="connsiteY10" fmla="*/ 148741 h 305980"/>
                <a:gd name="connsiteX11" fmla="*/ 119025 w 339978"/>
                <a:gd name="connsiteY11" fmla="*/ 229468 h 305980"/>
                <a:gd name="connsiteX12" fmla="*/ 170040 w 339978"/>
                <a:gd name="connsiteY12" fmla="*/ 280482 h 305980"/>
                <a:gd name="connsiteX13" fmla="*/ 221054 w 339978"/>
                <a:gd name="connsiteY13" fmla="*/ 229468 h 305980"/>
                <a:gd name="connsiteX14" fmla="*/ 221054 w 339978"/>
                <a:gd name="connsiteY14" fmla="*/ 148741 h 305980"/>
                <a:gd name="connsiteX15" fmla="*/ 216804 w 339978"/>
                <a:gd name="connsiteY15" fmla="*/ 144491 h 305980"/>
                <a:gd name="connsiteX16" fmla="*/ 29748 w 339978"/>
                <a:gd name="connsiteY16" fmla="*/ 118992 h 305980"/>
                <a:gd name="connsiteX17" fmla="*/ 87226 w 339978"/>
                <a:gd name="connsiteY17" fmla="*/ 118976 h 305980"/>
                <a:gd name="connsiteX18" fmla="*/ 76718 w 339978"/>
                <a:gd name="connsiteY18" fmla="*/ 144494 h 305980"/>
                <a:gd name="connsiteX19" fmla="*/ 29748 w 339978"/>
                <a:gd name="connsiteY19" fmla="*/ 144491 h 305980"/>
                <a:gd name="connsiteX20" fmla="*/ 25498 w 339978"/>
                <a:gd name="connsiteY20" fmla="*/ 148741 h 305980"/>
                <a:gd name="connsiteX21" fmla="*/ 25498 w 339978"/>
                <a:gd name="connsiteY21" fmla="*/ 203967 h 305980"/>
                <a:gd name="connsiteX22" fmla="*/ 68017 w 339978"/>
                <a:gd name="connsiteY22" fmla="*/ 246484 h 305980"/>
                <a:gd name="connsiteX23" fmla="*/ 77892 w 339978"/>
                <a:gd name="connsiteY23" fmla="*/ 245332 h 305980"/>
                <a:gd name="connsiteX24" fmla="*/ 85587 w 339978"/>
                <a:gd name="connsiteY24" fmla="*/ 269671 h 305980"/>
                <a:gd name="connsiteX25" fmla="*/ 68017 w 339978"/>
                <a:gd name="connsiteY25" fmla="*/ 271983 h 305980"/>
                <a:gd name="connsiteX26" fmla="*/ 0 w 339978"/>
                <a:gd name="connsiteY26" fmla="*/ 203967 h 305980"/>
                <a:gd name="connsiteX27" fmla="*/ 0 w 339978"/>
                <a:gd name="connsiteY27" fmla="*/ 148741 h 305980"/>
                <a:gd name="connsiteX28" fmla="*/ 29748 w 339978"/>
                <a:gd name="connsiteY28" fmla="*/ 118992 h 305980"/>
                <a:gd name="connsiteX29" fmla="*/ 252854 w 339978"/>
                <a:gd name="connsiteY29" fmla="*/ 118976 h 305980"/>
                <a:gd name="connsiteX30" fmla="*/ 310230 w 339978"/>
                <a:gd name="connsiteY30" fmla="*/ 118992 h 305980"/>
                <a:gd name="connsiteX31" fmla="*/ 339978 w 339978"/>
                <a:gd name="connsiteY31" fmla="*/ 148741 h 305980"/>
                <a:gd name="connsiteX32" fmla="*/ 339978 w 339978"/>
                <a:gd name="connsiteY32" fmla="*/ 203987 h 305980"/>
                <a:gd name="connsiteX33" fmla="*/ 271983 w 339978"/>
                <a:gd name="connsiteY33" fmla="*/ 271983 h 305980"/>
                <a:gd name="connsiteX34" fmla="*/ 254459 w 339978"/>
                <a:gd name="connsiteY34" fmla="*/ 269703 h 305980"/>
                <a:gd name="connsiteX35" fmla="*/ 262208 w 339978"/>
                <a:gd name="connsiteY35" fmla="*/ 245347 h 305980"/>
                <a:gd name="connsiteX36" fmla="*/ 271983 w 339978"/>
                <a:gd name="connsiteY36" fmla="*/ 246484 h 305980"/>
                <a:gd name="connsiteX37" fmla="*/ 314480 w 339978"/>
                <a:gd name="connsiteY37" fmla="*/ 203987 h 305980"/>
                <a:gd name="connsiteX38" fmla="*/ 314480 w 339978"/>
                <a:gd name="connsiteY38" fmla="*/ 148741 h 305980"/>
                <a:gd name="connsiteX39" fmla="*/ 310230 w 339978"/>
                <a:gd name="connsiteY39" fmla="*/ 144491 h 305980"/>
                <a:gd name="connsiteX40" fmla="*/ 263361 w 339978"/>
                <a:gd name="connsiteY40" fmla="*/ 144494 h 305980"/>
                <a:gd name="connsiteX41" fmla="*/ 252854 w 339978"/>
                <a:gd name="connsiteY41" fmla="*/ 118976 h 305980"/>
                <a:gd name="connsiteX42" fmla="*/ 169989 w 339978"/>
                <a:gd name="connsiteY42" fmla="*/ 0 h 305980"/>
                <a:gd name="connsiteX43" fmla="*/ 220986 w 339978"/>
                <a:gd name="connsiteY43" fmla="*/ 50997 h 305980"/>
                <a:gd name="connsiteX44" fmla="*/ 169989 w 339978"/>
                <a:gd name="connsiteY44" fmla="*/ 101994 h 305980"/>
                <a:gd name="connsiteX45" fmla="*/ 118992 w 339978"/>
                <a:gd name="connsiteY45" fmla="*/ 50997 h 305980"/>
                <a:gd name="connsiteX46" fmla="*/ 169989 w 339978"/>
                <a:gd name="connsiteY46" fmla="*/ 0 h 305980"/>
                <a:gd name="connsiteX47" fmla="*/ 280482 w 339978"/>
                <a:gd name="connsiteY47" fmla="*/ 16999 h 305980"/>
                <a:gd name="connsiteX48" fmla="*/ 322979 w 339978"/>
                <a:gd name="connsiteY48" fmla="*/ 59496 h 305980"/>
                <a:gd name="connsiteX49" fmla="*/ 280482 w 339978"/>
                <a:gd name="connsiteY49" fmla="*/ 101994 h 305980"/>
                <a:gd name="connsiteX50" fmla="*/ 237985 w 339978"/>
                <a:gd name="connsiteY50" fmla="*/ 59496 h 305980"/>
                <a:gd name="connsiteX51" fmla="*/ 280482 w 339978"/>
                <a:gd name="connsiteY51" fmla="*/ 16999 h 305980"/>
                <a:gd name="connsiteX52" fmla="*/ 59496 w 339978"/>
                <a:gd name="connsiteY52" fmla="*/ 16999 h 305980"/>
                <a:gd name="connsiteX53" fmla="*/ 101994 w 339978"/>
                <a:gd name="connsiteY53" fmla="*/ 59496 h 305980"/>
                <a:gd name="connsiteX54" fmla="*/ 59496 w 339978"/>
                <a:gd name="connsiteY54" fmla="*/ 101994 h 305980"/>
                <a:gd name="connsiteX55" fmla="*/ 16999 w 339978"/>
                <a:gd name="connsiteY55" fmla="*/ 59496 h 305980"/>
                <a:gd name="connsiteX56" fmla="*/ 59496 w 339978"/>
                <a:gd name="connsiteY56" fmla="*/ 16999 h 305980"/>
                <a:gd name="connsiteX57" fmla="*/ 169989 w 339978"/>
                <a:gd name="connsiteY57" fmla="*/ 25498 h 305980"/>
                <a:gd name="connsiteX58" fmla="*/ 144491 w 339978"/>
                <a:gd name="connsiteY58" fmla="*/ 50997 h 305980"/>
                <a:gd name="connsiteX59" fmla="*/ 169989 w 339978"/>
                <a:gd name="connsiteY59" fmla="*/ 76495 h 305980"/>
                <a:gd name="connsiteX60" fmla="*/ 195488 w 339978"/>
                <a:gd name="connsiteY60" fmla="*/ 50997 h 305980"/>
                <a:gd name="connsiteX61" fmla="*/ 169989 w 339978"/>
                <a:gd name="connsiteY61" fmla="*/ 25498 h 305980"/>
                <a:gd name="connsiteX62" fmla="*/ 280482 w 339978"/>
                <a:gd name="connsiteY62" fmla="*/ 42497 h 305980"/>
                <a:gd name="connsiteX63" fmla="*/ 263483 w 339978"/>
                <a:gd name="connsiteY63" fmla="*/ 59496 h 305980"/>
                <a:gd name="connsiteX64" fmla="*/ 280482 w 339978"/>
                <a:gd name="connsiteY64" fmla="*/ 76495 h 305980"/>
                <a:gd name="connsiteX65" fmla="*/ 297481 w 339978"/>
                <a:gd name="connsiteY65" fmla="*/ 59496 h 305980"/>
                <a:gd name="connsiteX66" fmla="*/ 280482 w 339978"/>
                <a:gd name="connsiteY66" fmla="*/ 42497 h 305980"/>
                <a:gd name="connsiteX67" fmla="*/ 59496 w 339978"/>
                <a:gd name="connsiteY67" fmla="*/ 42497 h 305980"/>
                <a:gd name="connsiteX68" fmla="*/ 42497 w 339978"/>
                <a:gd name="connsiteY68" fmla="*/ 59496 h 305980"/>
                <a:gd name="connsiteX69" fmla="*/ 59496 w 339978"/>
                <a:gd name="connsiteY69" fmla="*/ 76495 h 305980"/>
                <a:gd name="connsiteX70" fmla="*/ 76495 w 339978"/>
                <a:gd name="connsiteY70" fmla="*/ 59496 h 305980"/>
                <a:gd name="connsiteX71" fmla="*/ 59496 w 339978"/>
                <a:gd name="connsiteY71" fmla="*/ 42497 h 305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Lst>
              <a:rect l="l" t="t" r="r" b="b"/>
              <a:pathLst>
                <a:path w="339978" h="305980">
                  <a:moveTo>
                    <a:pt x="216804" y="118992"/>
                  </a:moveTo>
                  <a:cubicBezTo>
                    <a:pt x="233234" y="118992"/>
                    <a:pt x="246552" y="132311"/>
                    <a:pt x="246552" y="148741"/>
                  </a:cubicBezTo>
                  <a:lnTo>
                    <a:pt x="246552" y="229468"/>
                  </a:lnTo>
                  <a:cubicBezTo>
                    <a:pt x="246552" y="271724"/>
                    <a:pt x="212296" y="305981"/>
                    <a:pt x="170040" y="305981"/>
                  </a:cubicBezTo>
                  <a:cubicBezTo>
                    <a:pt x="127783" y="305981"/>
                    <a:pt x="93527" y="271724"/>
                    <a:pt x="93527" y="229468"/>
                  </a:cubicBezTo>
                  <a:lnTo>
                    <a:pt x="93527" y="148741"/>
                  </a:lnTo>
                  <a:cubicBezTo>
                    <a:pt x="93527" y="132311"/>
                    <a:pt x="106846" y="118992"/>
                    <a:pt x="123275" y="118992"/>
                  </a:cubicBezTo>
                  <a:lnTo>
                    <a:pt x="216804" y="118992"/>
                  </a:lnTo>
                  <a:close/>
                  <a:moveTo>
                    <a:pt x="216804" y="144491"/>
                  </a:moveTo>
                  <a:lnTo>
                    <a:pt x="123275" y="144491"/>
                  </a:lnTo>
                  <a:cubicBezTo>
                    <a:pt x="120928" y="144491"/>
                    <a:pt x="119025" y="146393"/>
                    <a:pt x="119025" y="148741"/>
                  </a:cubicBezTo>
                  <a:lnTo>
                    <a:pt x="119025" y="229468"/>
                  </a:lnTo>
                  <a:cubicBezTo>
                    <a:pt x="119025" y="257642"/>
                    <a:pt x="141864" y="280482"/>
                    <a:pt x="170040" y="280482"/>
                  </a:cubicBezTo>
                  <a:cubicBezTo>
                    <a:pt x="198214" y="280482"/>
                    <a:pt x="221054" y="257642"/>
                    <a:pt x="221054" y="229468"/>
                  </a:cubicBezTo>
                  <a:lnTo>
                    <a:pt x="221054" y="148741"/>
                  </a:lnTo>
                  <a:cubicBezTo>
                    <a:pt x="221054" y="146393"/>
                    <a:pt x="219152" y="144491"/>
                    <a:pt x="216804" y="144491"/>
                  </a:cubicBezTo>
                  <a:close/>
                  <a:moveTo>
                    <a:pt x="29748" y="118992"/>
                  </a:moveTo>
                  <a:lnTo>
                    <a:pt x="87226" y="118976"/>
                  </a:lnTo>
                  <a:cubicBezTo>
                    <a:pt x="81389" y="126038"/>
                    <a:pt x="77587" y="134844"/>
                    <a:pt x="76718" y="144494"/>
                  </a:cubicBezTo>
                  <a:lnTo>
                    <a:pt x="29748" y="144491"/>
                  </a:lnTo>
                  <a:cubicBezTo>
                    <a:pt x="27401" y="144491"/>
                    <a:pt x="25498" y="146393"/>
                    <a:pt x="25498" y="148741"/>
                  </a:cubicBezTo>
                  <a:lnTo>
                    <a:pt x="25498" y="203967"/>
                  </a:lnTo>
                  <a:cubicBezTo>
                    <a:pt x="25498" y="227449"/>
                    <a:pt x="44534" y="246484"/>
                    <a:pt x="68017" y="246484"/>
                  </a:cubicBezTo>
                  <a:cubicBezTo>
                    <a:pt x="71416" y="246484"/>
                    <a:pt x="74723" y="246085"/>
                    <a:pt x="77892" y="245332"/>
                  </a:cubicBezTo>
                  <a:cubicBezTo>
                    <a:pt x="79332" y="253898"/>
                    <a:pt x="81961" y="262067"/>
                    <a:pt x="85587" y="269671"/>
                  </a:cubicBezTo>
                  <a:cubicBezTo>
                    <a:pt x="79993" y="271184"/>
                    <a:pt x="74098" y="271983"/>
                    <a:pt x="68017" y="271983"/>
                  </a:cubicBezTo>
                  <a:cubicBezTo>
                    <a:pt x="30452" y="271983"/>
                    <a:pt x="0" y="241531"/>
                    <a:pt x="0" y="203967"/>
                  </a:cubicBezTo>
                  <a:lnTo>
                    <a:pt x="0" y="148741"/>
                  </a:lnTo>
                  <a:cubicBezTo>
                    <a:pt x="0" y="132311"/>
                    <a:pt x="13319" y="118992"/>
                    <a:pt x="29748" y="118992"/>
                  </a:cubicBezTo>
                  <a:close/>
                  <a:moveTo>
                    <a:pt x="252854" y="118976"/>
                  </a:moveTo>
                  <a:lnTo>
                    <a:pt x="310230" y="118992"/>
                  </a:lnTo>
                  <a:cubicBezTo>
                    <a:pt x="326660" y="118992"/>
                    <a:pt x="339978" y="132311"/>
                    <a:pt x="339978" y="148741"/>
                  </a:cubicBezTo>
                  <a:lnTo>
                    <a:pt x="339978" y="203987"/>
                  </a:lnTo>
                  <a:cubicBezTo>
                    <a:pt x="339978" y="241539"/>
                    <a:pt x="309535" y="271983"/>
                    <a:pt x="271983" y="271983"/>
                  </a:cubicBezTo>
                  <a:cubicBezTo>
                    <a:pt x="265924" y="271983"/>
                    <a:pt x="260049" y="271191"/>
                    <a:pt x="254459" y="269703"/>
                  </a:cubicBezTo>
                  <a:cubicBezTo>
                    <a:pt x="258112" y="262084"/>
                    <a:pt x="260743" y="253915"/>
                    <a:pt x="262208" y="245347"/>
                  </a:cubicBezTo>
                  <a:cubicBezTo>
                    <a:pt x="265339" y="246093"/>
                    <a:pt x="268615" y="246484"/>
                    <a:pt x="271983" y="246484"/>
                  </a:cubicBezTo>
                  <a:cubicBezTo>
                    <a:pt x="295453" y="246484"/>
                    <a:pt x="314480" y="227457"/>
                    <a:pt x="314480" y="203987"/>
                  </a:cubicBezTo>
                  <a:lnTo>
                    <a:pt x="314480" y="148741"/>
                  </a:lnTo>
                  <a:cubicBezTo>
                    <a:pt x="314480" y="146393"/>
                    <a:pt x="312578" y="144491"/>
                    <a:pt x="310230" y="144491"/>
                  </a:cubicBezTo>
                  <a:lnTo>
                    <a:pt x="263361" y="144494"/>
                  </a:lnTo>
                  <a:cubicBezTo>
                    <a:pt x="262492" y="134844"/>
                    <a:pt x="258690" y="126038"/>
                    <a:pt x="252854" y="118976"/>
                  </a:cubicBezTo>
                  <a:close/>
                  <a:moveTo>
                    <a:pt x="169989" y="0"/>
                  </a:moveTo>
                  <a:cubicBezTo>
                    <a:pt x="198155" y="0"/>
                    <a:pt x="220986" y="22832"/>
                    <a:pt x="220986" y="50997"/>
                  </a:cubicBezTo>
                  <a:cubicBezTo>
                    <a:pt x="220986" y="79161"/>
                    <a:pt x="198155" y="101994"/>
                    <a:pt x="169989" y="101994"/>
                  </a:cubicBezTo>
                  <a:cubicBezTo>
                    <a:pt x="141824" y="101994"/>
                    <a:pt x="118992" y="79161"/>
                    <a:pt x="118992" y="50997"/>
                  </a:cubicBezTo>
                  <a:cubicBezTo>
                    <a:pt x="118992" y="22832"/>
                    <a:pt x="141824" y="0"/>
                    <a:pt x="169989" y="0"/>
                  </a:cubicBezTo>
                  <a:close/>
                  <a:moveTo>
                    <a:pt x="280482" y="16999"/>
                  </a:moveTo>
                  <a:cubicBezTo>
                    <a:pt x="303953" y="16999"/>
                    <a:pt x="322979" y="36026"/>
                    <a:pt x="322979" y="59496"/>
                  </a:cubicBezTo>
                  <a:cubicBezTo>
                    <a:pt x="322979" y="82967"/>
                    <a:pt x="303953" y="101994"/>
                    <a:pt x="280482" y="101994"/>
                  </a:cubicBezTo>
                  <a:cubicBezTo>
                    <a:pt x="257012" y="101994"/>
                    <a:pt x="237985" y="82967"/>
                    <a:pt x="237985" y="59496"/>
                  </a:cubicBezTo>
                  <a:cubicBezTo>
                    <a:pt x="237985" y="36026"/>
                    <a:pt x="257012" y="16999"/>
                    <a:pt x="280482" y="16999"/>
                  </a:cubicBezTo>
                  <a:close/>
                  <a:moveTo>
                    <a:pt x="59496" y="16999"/>
                  </a:moveTo>
                  <a:cubicBezTo>
                    <a:pt x="82967" y="16999"/>
                    <a:pt x="101994" y="36026"/>
                    <a:pt x="101994" y="59496"/>
                  </a:cubicBezTo>
                  <a:cubicBezTo>
                    <a:pt x="101994" y="82967"/>
                    <a:pt x="82967" y="101994"/>
                    <a:pt x="59496" y="101994"/>
                  </a:cubicBezTo>
                  <a:cubicBezTo>
                    <a:pt x="36026" y="101994"/>
                    <a:pt x="16999" y="82967"/>
                    <a:pt x="16999" y="59496"/>
                  </a:cubicBezTo>
                  <a:cubicBezTo>
                    <a:pt x="16999" y="36026"/>
                    <a:pt x="36026" y="16999"/>
                    <a:pt x="59496" y="16999"/>
                  </a:cubicBezTo>
                  <a:close/>
                  <a:moveTo>
                    <a:pt x="169989" y="25498"/>
                  </a:moveTo>
                  <a:cubicBezTo>
                    <a:pt x="155907" y="25498"/>
                    <a:pt x="144491" y="36914"/>
                    <a:pt x="144491" y="50997"/>
                  </a:cubicBezTo>
                  <a:cubicBezTo>
                    <a:pt x="144491" y="65079"/>
                    <a:pt x="155907" y="76495"/>
                    <a:pt x="169989" y="76495"/>
                  </a:cubicBezTo>
                  <a:cubicBezTo>
                    <a:pt x="184071" y="76495"/>
                    <a:pt x="195488" y="65079"/>
                    <a:pt x="195488" y="50997"/>
                  </a:cubicBezTo>
                  <a:cubicBezTo>
                    <a:pt x="195488" y="36914"/>
                    <a:pt x="184071" y="25498"/>
                    <a:pt x="169989" y="25498"/>
                  </a:cubicBezTo>
                  <a:close/>
                  <a:moveTo>
                    <a:pt x="280482" y="42497"/>
                  </a:moveTo>
                  <a:cubicBezTo>
                    <a:pt x="271094" y="42497"/>
                    <a:pt x="263483" y="50108"/>
                    <a:pt x="263483" y="59496"/>
                  </a:cubicBezTo>
                  <a:cubicBezTo>
                    <a:pt x="263483" y="68884"/>
                    <a:pt x="271094" y="76495"/>
                    <a:pt x="280482" y="76495"/>
                  </a:cubicBezTo>
                  <a:cubicBezTo>
                    <a:pt x="289871" y="76495"/>
                    <a:pt x="297481" y="68884"/>
                    <a:pt x="297481" y="59496"/>
                  </a:cubicBezTo>
                  <a:cubicBezTo>
                    <a:pt x="297481" y="50108"/>
                    <a:pt x="289871" y="42497"/>
                    <a:pt x="280482" y="42497"/>
                  </a:cubicBezTo>
                  <a:close/>
                  <a:moveTo>
                    <a:pt x="59496" y="42497"/>
                  </a:moveTo>
                  <a:cubicBezTo>
                    <a:pt x="50108" y="42497"/>
                    <a:pt x="42497" y="50108"/>
                    <a:pt x="42497" y="59496"/>
                  </a:cubicBezTo>
                  <a:cubicBezTo>
                    <a:pt x="42497" y="68884"/>
                    <a:pt x="50108" y="76495"/>
                    <a:pt x="59496" y="76495"/>
                  </a:cubicBezTo>
                  <a:cubicBezTo>
                    <a:pt x="68884" y="76495"/>
                    <a:pt x="76495" y="68884"/>
                    <a:pt x="76495" y="59496"/>
                  </a:cubicBezTo>
                  <a:cubicBezTo>
                    <a:pt x="76495" y="50108"/>
                    <a:pt x="68884" y="42497"/>
                    <a:pt x="59496" y="42497"/>
                  </a:cubicBezTo>
                  <a:close/>
                </a:path>
              </a:pathLst>
            </a:custGeom>
            <a:gradFill flip="none" rotWithShape="1">
              <a:gsLst>
                <a:gs pos="0">
                  <a:srgbClr val="0078D4"/>
                </a:gs>
                <a:gs pos="100000">
                  <a:srgbClr val="C53FCC"/>
                </a:gs>
              </a:gsLst>
              <a:lin ang="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lIns="704088" tIns="45720" rIns="91440" bIns="45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white"/>
                </a:solidFill>
                <a:effectLst/>
                <a:uLnTx/>
                <a:uFillTx/>
                <a:latin typeface="Segoe UI Semibold"/>
                <a:ea typeface="+mn-ea"/>
                <a:cs typeface="+mn-cs"/>
              </a:endParaRPr>
            </a:p>
          </p:txBody>
        </p:sp>
      </p:grpSp>
      <p:sp>
        <p:nvSpPr>
          <p:cNvPr id="10" name="Title 9">
            <a:extLst>
              <a:ext uri="{FF2B5EF4-FFF2-40B4-BE49-F238E27FC236}">
                <a16:creationId xmlns:a16="http://schemas.microsoft.com/office/drawing/2014/main" id="{CD66C5B6-7A27-C090-C64C-53CC3FB1A24C}"/>
              </a:ext>
            </a:extLst>
          </p:cNvPr>
          <p:cNvSpPr>
            <a:spLocks noGrp="1"/>
          </p:cNvSpPr>
          <p:nvPr>
            <p:ph type="title"/>
          </p:nvPr>
        </p:nvSpPr>
        <p:spPr/>
        <p:txBody>
          <a:bodyPr/>
          <a:lstStyle/>
          <a:p>
            <a:r>
              <a:rPr lang="en-US" dirty="0"/>
              <a:t>Speakers &amp; supporting team</a:t>
            </a:r>
            <a:endParaRPr lang="en-GB" dirty="0"/>
          </a:p>
        </p:txBody>
      </p:sp>
      <p:sp>
        <p:nvSpPr>
          <p:cNvPr id="5" name="TextBox 7, chunk 1, chunk 1">
            <a:extLst>
              <a:ext uri="{FF2B5EF4-FFF2-40B4-BE49-F238E27FC236}">
                <a16:creationId xmlns:a16="http://schemas.microsoft.com/office/drawing/2014/main" id="{E5A1570F-37B3-FE97-3693-3D396D399910}"/>
              </a:ext>
            </a:extLst>
          </p:cNvPr>
          <p:cNvSpPr txBox="1"/>
          <p:nvPr/>
        </p:nvSpPr>
        <p:spPr>
          <a:xfrm>
            <a:off x="1447801" y="1619568"/>
            <a:ext cx="9988184" cy="2523768"/>
          </a:xfrm>
          <a:prstGeom prst="rect">
            <a:avLst/>
          </a:prstGeom>
          <a:noFill/>
        </p:spPr>
        <p:txBody>
          <a:bodyPr wrap="square" lIns="0" tIns="0" rIns="0" bIns="0" numCol="1" rtlCol="0" anchor="t">
            <a:spAutoFit/>
          </a:bodyPr>
          <a:lstStyle>
            <a:defPPr>
              <a:defRPr lang="en-US"/>
            </a:defPPr>
            <a:lvl1pPr marR="0" lvl="0" indent="0" fontAlgn="auto">
              <a:lnSpc>
                <a:spcPct val="100000"/>
              </a:lnSpc>
              <a:spcBef>
                <a:spcPts val="0"/>
              </a:spcBef>
              <a:spcAft>
                <a:spcPts val="0"/>
              </a:spcAft>
              <a:buClrTx/>
              <a:buSzTx/>
              <a:buFontTx/>
              <a:buNone/>
              <a:tabLst/>
              <a:defRPr kumimoji="0" sz="2000" b="0" i="0" u="none" strike="noStrike" kern="0" cap="none" spc="0" normalizeH="0" baseline="0">
                <a:ln>
                  <a:noFill/>
                </a:ln>
                <a:solidFill>
                  <a:prstClr val="black"/>
                </a:solidFill>
                <a:effectLst/>
                <a:uLnTx/>
                <a:uFillTx/>
                <a:latin typeface="Segoe UI"/>
              </a:defRPr>
            </a:lvl1pPr>
          </a:lstStyle>
          <a:p>
            <a:pPr marL="0" marR="0" lvl="0" indent="0" algn="l" defTabSz="914400" rtl="0" eaLnBrk="1" fontAlgn="auto" latinLnBrk="0" hangingPunct="1">
              <a:lnSpc>
                <a:spcPct val="100000"/>
              </a:lnSpc>
              <a:spcBef>
                <a:spcPts val="0"/>
              </a:spcBef>
              <a:spcAft>
                <a:spcPts val="400"/>
              </a:spcAft>
              <a:buClrTx/>
              <a:buSzTx/>
              <a:buFontTx/>
              <a:buNone/>
              <a:tabLst/>
              <a:defRPr/>
            </a:pPr>
            <a:r>
              <a:rPr kumimoji="0" lang="en-US" sz="1800" b="0" i="0" u="none" strike="noStrike" kern="0" cap="none" spc="0" normalizeH="0" baseline="0" noProof="0" dirty="0">
                <a:ln>
                  <a:noFill/>
                </a:ln>
                <a:solidFill>
                  <a:srgbClr val="0078D4"/>
                </a:solidFill>
                <a:effectLst/>
                <a:uLnTx/>
                <a:uFillTx/>
                <a:latin typeface="Segoe UI Semibold"/>
                <a:ea typeface="+mn-ea"/>
                <a:cs typeface="+mn-cs"/>
              </a:rPr>
              <a:t>Key speakers needed</a:t>
            </a:r>
          </a:p>
          <a:p>
            <a:pPr marL="375920" indent="-238125">
              <a:spcAft>
                <a:spcPts val="800"/>
              </a:spcAft>
              <a:buFont typeface="Arial" panose="020B0604020202020204" pitchFamily="34" charset="0"/>
              <a:buChar char="•"/>
              <a:defRPr/>
            </a:pPr>
            <a:r>
              <a:rPr kumimoji="0" lang="en-US" sz="1800" b="0" i="0" u="none" strike="noStrike" kern="0" cap="none" spc="0" normalizeH="0" baseline="0" noProof="0" dirty="0">
                <a:ln>
                  <a:noFill/>
                </a:ln>
                <a:effectLst/>
                <a:uLnTx/>
                <a:uFillTx/>
                <a:latin typeface="Segoe UI"/>
                <a:ea typeface="+mn-ea"/>
                <a:cs typeface="+mn-cs"/>
              </a:rPr>
              <a:t>At minimum 1 Lead speaker will be needed to cover the content for the day and to facilitate the Hackathon session. Ideally you will need 2–3 speakers to cover the various topics in the first half. Consider contacting your </a:t>
            </a:r>
            <a:r>
              <a:rPr lang="en-US" sz="1800" dirty="0"/>
              <a:t>key partner or Microsoft rep</a:t>
            </a:r>
            <a:r>
              <a:rPr kumimoji="0" lang="en-US" sz="1800" b="0" i="0" u="none" strike="noStrike" kern="0" cap="none" spc="0" normalizeH="0" baseline="0" noProof="0" dirty="0">
                <a:ln>
                  <a:noFill/>
                </a:ln>
                <a:effectLst/>
                <a:uLnTx/>
                <a:uFillTx/>
                <a:latin typeface="Segoe UI"/>
                <a:ea typeface="+mn-ea"/>
                <a:cs typeface="+mn-cs"/>
              </a:rPr>
              <a:t> for event speaker support</a:t>
            </a:r>
            <a:r>
              <a:rPr lang="en-US" sz="1800" dirty="0"/>
              <a:t>.</a:t>
            </a:r>
            <a:endParaRPr lang="en-US" sz="1800" b="0" i="0" u="none" strike="noStrike" kern="0" cap="none" spc="0" normalizeH="0" baseline="0" noProof="0" dirty="0">
              <a:ln>
                <a:noFill/>
              </a:ln>
              <a:effectLst/>
              <a:uLnTx/>
              <a:uFillTx/>
              <a:latin typeface="Segoe UI"/>
              <a:cs typeface="Segoe UI"/>
            </a:endParaRPr>
          </a:p>
          <a:p>
            <a:pPr marL="375920" indent="-238125">
              <a:spcAft>
                <a:spcPts val="800"/>
              </a:spcAft>
              <a:buFont typeface="Arial" panose="020B0604020202020204" pitchFamily="34" charset="0"/>
              <a:buChar char="•"/>
              <a:defRPr/>
            </a:pPr>
            <a:r>
              <a:rPr kumimoji="0" lang="en-US" sz="1800" b="0" i="0" u="none" strike="noStrike" kern="0" cap="none" spc="0" normalizeH="0" baseline="0" noProof="0" dirty="0">
                <a:ln>
                  <a:noFill/>
                </a:ln>
                <a:effectLst/>
                <a:uLnTx/>
                <a:uFillTx/>
                <a:latin typeface="Segoe UI"/>
                <a:ea typeface="+mn-ea"/>
                <a:cs typeface="+mn-cs"/>
              </a:rPr>
              <a:t>Assuming 10 </a:t>
            </a:r>
            <a:r>
              <a:rPr lang="en-US" sz="1800" dirty="0"/>
              <a:t>groups</a:t>
            </a:r>
            <a:r>
              <a:rPr kumimoji="0" lang="en-US" sz="1800" b="0" i="0" u="none" strike="noStrike" kern="0" cap="none" spc="0" normalizeH="0" baseline="0" noProof="0" dirty="0">
                <a:ln>
                  <a:noFill/>
                </a:ln>
                <a:effectLst/>
                <a:uLnTx/>
                <a:uFillTx/>
                <a:latin typeface="Segoe UI"/>
                <a:ea typeface="+mn-ea"/>
                <a:cs typeface="+mn-cs"/>
              </a:rPr>
              <a:t> attend there will need to be 4–5 technical SMEs</a:t>
            </a:r>
            <a:r>
              <a:rPr lang="en-US" sz="1800" dirty="0"/>
              <a:t> </a:t>
            </a:r>
            <a:r>
              <a:rPr kumimoji="0" lang="en-US" sz="1800" b="0" i="0" u="none" strike="noStrike" kern="0" cap="none" spc="0" normalizeH="0" baseline="0" noProof="0" dirty="0">
                <a:ln>
                  <a:noFill/>
                </a:ln>
                <a:effectLst/>
                <a:uLnTx/>
                <a:uFillTx/>
                <a:latin typeface="Segoe UI"/>
                <a:ea typeface="+mn-ea"/>
                <a:cs typeface="+mn-cs"/>
              </a:rPr>
              <a:t>who can float between the groups and support with technical questions</a:t>
            </a:r>
            <a:r>
              <a:rPr lang="en-US" sz="1800" dirty="0"/>
              <a:t>.</a:t>
            </a:r>
            <a:endParaRPr lang="en-US" sz="1800" b="0" i="0" u="none" strike="noStrike" kern="0" cap="none" spc="0" normalizeH="0" baseline="0" noProof="0" dirty="0">
              <a:ln>
                <a:noFill/>
              </a:ln>
              <a:effectLst/>
              <a:uLnTx/>
              <a:uFillTx/>
              <a:latin typeface="Segoe UI"/>
              <a:cs typeface="Segoe UI"/>
            </a:endParaRPr>
          </a:p>
          <a:p>
            <a:pPr marL="375920" indent="-238125">
              <a:spcAft>
                <a:spcPts val="800"/>
              </a:spcAft>
              <a:buFont typeface="Arial" panose="020B0604020202020204" pitchFamily="34" charset="0"/>
              <a:buChar char="•"/>
              <a:defRPr/>
            </a:pPr>
            <a:r>
              <a:rPr kumimoji="0" lang="en-US" sz="1800" b="0" i="0" u="none" strike="noStrike" kern="0" cap="none" spc="0" normalizeH="0" baseline="0" noProof="0" dirty="0">
                <a:ln>
                  <a:noFill/>
                </a:ln>
                <a:effectLst/>
                <a:uLnTx/>
                <a:uFillTx/>
                <a:latin typeface="Segoe UI"/>
                <a:ea typeface="+mn-ea"/>
                <a:cs typeface="+mn-cs"/>
              </a:rPr>
              <a:t>If there are not enough local technical SMEs to manage each group, consider inviting </a:t>
            </a:r>
            <a:r>
              <a:rPr lang="en-US" sz="1800" dirty="0"/>
              <a:t>your key</a:t>
            </a:r>
            <a:r>
              <a:rPr kumimoji="0" lang="en-US" sz="1800" b="0" i="0" u="none" strike="noStrike" kern="0" cap="none" spc="0" normalizeH="0" baseline="0" noProof="0" dirty="0">
                <a:ln>
                  <a:noFill/>
                </a:ln>
                <a:effectLst/>
                <a:uLnTx/>
                <a:uFillTx/>
                <a:latin typeface="Segoe UI"/>
                <a:ea typeface="+mn-ea"/>
                <a:cs typeface="+mn-cs"/>
              </a:rPr>
              <a:t> </a:t>
            </a:r>
            <a:r>
              <a:rPr lang="en-US" sz="1800" dirty="0"/>
              <a:t>partner technical resources to support</a:t>
            </a:r>
            <a:r>
              <a:rPr kumimoji="0" lang="en-US" sz="1800" b="0" i="0" u="none" strike="noStrike" kern="0" cap="none" spc="0" normalizeH="0" baseline="0" noProof="0" dirty="0">
                <a:ln>
                  <a:noFill/>
                </a:ln>
                <a:effectLst/>
                <a:uLnTx/>
                <a:uFillTx/>
                <a:latin typeface="Segoe UI"/>
                <a:ea typeface="+mn-ea"/>
                <a:cs typeface="+mn-cs"/>
              </a:rPr>
              <a:t> the event</a:t>
            </a:r>
            <a:r>
              <a:rPr lang="en-US" sz="1800" dirty="0"/>
              <a:t>.</a:t>
            </a:r>
            <a:endParaRPr lang="en-US" sz="1800" b="0" i="0" u="none" strike="noStrike" kern="0" cap="none" spc="0" normalizeH="0" baseline="0" noProof="0" dirty="0">
              <a:ln>
                <a:noFill/>
              </a:ln>
              <a:effectLst/>
              <a:uLnTx/>
              <a:uFillTx/>
              <a:latin typeface="Segoe UI"/>
              <a:cs typeface="Segoe UI"/>
            </a:endParaRPr>
          </a:p>
        </p:txBody>
      </p:sp>
      <p:sp>
        <p:nvSpPr>
          <p:cNvPr id="11" name="TextBox 7, chunk 1, chunk 1">
            <a:extLst>
              <a:ext uri="{FF2B5EF4-FFF2-40B4-BE49-F238E27FC236}">
                <a16:creationId xmlns:a16="http://schemas.microsoft.com/office/drawing/2014/main" id="{10D4F9CB-BB6A-2266-07BC-E7BB4A0863EC}"/>
              </a:ext>
            </a:extLst>
          </p:cNvPr>
          <p:cNvSpPr txBox="1"/>
          <p:nvPr/>
        </p:nvSpPr>
        <p:spPr>
          <a:xfrm>
            <a:off x="1447801" y="4841736"/>
            <a:ext cx="9988184" cy="1261884"/>
          </a:xfrm>
          <a:prstGeom prst="rect">
            <a:avLst/>
          </a:prstGeom>
          <a:noFill/>
        </p:spPr>
        <p:txBody>
          <a:bodyPr wrap="square" lIns="0" tIns="0" rIns="0" bIns="0" numCol="1" rtlCol="0" anchor="t">
            <a:spAutoFit/>
          </a:bodyPr>
          <a:lstStyle>
            <a:defPPr>
              <a:defRPr lang="en-US"/>
            </a:defPPr>
            <a:lvl1pPr marR="0" lvl="0" indent="0" fontAlgn="auto">
              <a:lnSpc>
                <a:spcPct val="100000"/>
              </a:lnSpc>
              <a:spcBef>
                <a:spcPts val="0"/>
              </a:spcBef>
              <a:spcAft>
                <a:spcPts val="0"/>
              </a:spcAft>
              <a:buClrTx/>
              <a:buSzTx/>
              <a:buFontTx/>
              <a:buNone/>
              <a:tabLst/>
              <a:defRPr kumimoji="0" sz="2000" b="0" i="0" u="none" strike="noStrike" kern="0" cap="none" spc="0" normalizeH="0" baseline="0">
                <a:ln>
                  <a:noFill/>
                </a:ln>
                <a:solidFill>
                  <a:prstClr val="black"/>
                </a:solidFill>
                <a:effectLst/>
                <a:uLnTx/>
                <a:uFillTx/>
                <a:latin typeface="Segoe UI"/>
              </a:defRPr>
            </a:lvl1pPr>
          </a:lstStyle>
          <a:p>
            <a:pPr marL="0" marR="0" lvl="0" indent="0" algn="l" defTabSz="914400" rtl="0" eaLnBrk="1" fontAlgn="auto" latinLnBrk="0" hangingPunct="1">
              <a:lnSpc>
                <a:spcPct val="100000"/>
              </a:lnSpc>
              <a:spcBef>
                <a:spcPts val="0"/>
              </a:spcBef>
              <a:spcAft>
                <a:spcPts val="400"/>
              </a:spcAft>
              <a:buClrTx/>
              <a:buSzTx/>
              <a:buFontTx/>
              <a:buNone/>
              <a:tabLst/>
              <a:defRPr/>
            </a:pPr>
            <a:r>
              <a:rPr kumimoji="0" lang="en-US" sz="1800" b="0" i="0" u="none" strike="noStrike" kern="0" cap="none" spc="0" normalizeH="0" baseline="0" noProof="0" dirty="0">
                <a:ln>
                  <a:noFill/>
                </a:ln>
                <a:solidFill>
                  <a:srgbClr val="0078D4"/>
                </a:solidFill>
                <a:effectLst/>
                <a:uLnTx/>
                <a:uFillTx/>
                <a:latin typeface="Segoe UI Semibold"/>
                <a:ea typeface="+mn-ea"/>
                <a:cs typeface="+mn-cs"/>
              </a:rPr>
              <a:t>Support roles</a:t>
            </a:r>
          </a:p>
          <a:p>
            <a:pPr marL="376238" marR="0" lvl="0" indent="-238125" algn="l" defTabSz="914400" rtl="0" eaLnBrk="1" fontAlgn="auto" latinLnBrk="0" hangingPunct="1">
              <a:lnSpc>
                <a:spcPct val="100000"/>
              </a:lnSpc>
              <a:spcBef>
                <a:spcPts val="0"/>
              </a:spcBef>
              <a:spcAft>
                <a:spcPts val="800"/>
              </a:spcAft>
              <a:buClrTx/>
              <a:buSzTx/>
              <a:buFont typeface="Arial" panose="020B0604020202020204" pitchFamily="34" charset="0"/>
              <a:buChar char="•"/>
              <a:tabLst/>
              <a:defRPr/>
            </a:pPr>
            <a:r>
              <a:rPr kumimoji="0" lang="en-US" sz="1800" b="0" i="0" u="none" strike="noStrike" kern="0" cap="none" spc="0" normalizeH="0" baseline="0" noProof="0" dirty="0">
                <a:ln>
                  <a:noFill/>
                </a:ln>
                <a:solidFill>
                  <a:prstClr val="black"/>
                </a:solidFill>
                <a:effectLst/>
                <a:uLnTx/>
                <a:uFillTx/>
                <a:latin typeface="Segoe UI"/>
                <a:ea typeface="+mn-ea"/>
                <a:cs typeface="+mn-cs"/>
              </a:rPr>
              <a:t>Time-keeper – Support with breakout grouping, time management</a:t>
            </a:r>
          </a:p>
          <a:p>
            <a:pPr marL="376238" marR="0" lvl="0" indent="-238125" algn="l" defTabSz="914400" rtl="0" eaLnBrk="1" fontAlgn="auto" latinLnBrk="0" hangingPunct="1">
              <a:lnSpc>
                <a:spcPct val="100000"/>
              </a:lnSpc>
              <a:spcBef>
                <a:spcPts val="0"/>
              </a:spcBef>
              <a:spcAft>
                <a:spcPts val="800"/>
              </a:spcAft>
              <a:buClrTx/>
              <a:buSzTx/>
              <a:buFont typeface="Arial" panose="020B0604020202020204" pitchFamily="34" charset="0"/>
              <a:buChar char="•"/>
              <a:tabLst/>
              <a:defRPr/>
            </a:pPr>
            <a:r>
              <a:rPr kumimoji="0" lang="en-US" sz="1800" b="0" i="0" u="none" strike="noStrike" kern="0" cap="none" spc="0" normalizeH="0" baseline="0" noProof="0" dirty="0">
                <a:ln>
                  <a:noFill/>
                </a:ln>
                <a:solidFill>
                  <a:prstClr val="black"/>
                </a:solidFill>
                <a:effectLst/>
                <a:uLnTx/>
                <a:uFillTx/>
                <a:latin typeface="Segoe UI"/>
                <a:ea typeface="+mn-ea"/>
                <a:cs typeface="+mn-cs"/>
              </a:rPr>
              <a:t>Score-keeper – To tally scores from the presentations or run a poll if a competitive element</a:t>
            </a:r>
            <a:br>
              <a:rPr kumimoji="0" lang="en-US" sz="1800" b="0" i="0" u="none" strike="noStrike" kern="0" cap="none" spc="0" normalizeH="0" baseline="0" noProof="0" dirty="0">
                <a:ln>
                  <a:noFill/>
                </a:ln>
                <a:solidFill>
                  <a:prstClr val="black"/>
                </a:solidFill>
                <a:effectLst/>
                <a:uLnTx/>
                <a:uFillTx/>
                <a:latin typeface="Segoe UI"/>
                <a:ea typeface="+mn-ea"/>
                <a:cs typeface="+mn-cs"/>
              </a:rPr>
            </a:br>
            <a:r>
              <a:rPr kumimoji="0" lang="en-US" sz="1800" b="0" i="0" u="none" strike="noStrike" kern="0" cap="none" spc="0" normalizeH="0" baseline="0" noProof="0" dirty="0">
                <a:ln>
                  <a:noFill/>
                </a:ln>
                <a:solidFill>
                  <a:prstClr val="black"/>
                </a:solidFill>
                <a:effectLst/>
                <a:uLnTx/>
                <a:uFillTx/>
                <a:latin typeface="Segoe UI"/>
                <a:ea typeface="+mn-ea"/>
                <a:cs typeface="+mn-cs"/>
              </a:rPr>
              <a:t>is added</a:t>
            </a:r>
          </a:p>
        </p:txBody>
      </p:sp>
    </p:spTree>
    <p:extLst>
      <p:ext uri="{BB962C8B-B14F-4D97-AF65-F5344CB8AC3E}">
        <p14:creationId xmlns:p14="http://schemas.microsoft.com/office/powerpoint/2010/main" val="270737287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7D22C14-95A4-3111-29DC-E780BA4E29C3}"/>
            </a:ext>
          </a:extLst>
        </p:cNvPr>
        <p:cNvGrpSpPr/>
        <p:nvPr/>
      </p:nvGrpSpPr>
      <p:grpSpPr>
        <a:xfrm>
          <a:off x="0" y="0"/>
          <a:ext cx="0" cy="0"/>
          <a:chOff x="0" y="0"/>
          <a:chExt cx="0" cy="0"/>
        </a:xfrm>
      </p:grpSpPr>
      <p:pic>
        <p:nvPicPr>
          <p:cNvPr id="48" name="Picture 47">
            <a:extLst>
              <a:ext uri="{FF2B5EF4-FFF2-40B4-BE49-F238E27FC236}">
                <a16:creationId xmlns:a16="http://schemas.microsoft.com/office/drawing/2014/main" id="{AE3D2BE6-2D43-1A24-A50C-6E8D12B7BCF5}"/>
              </a:ext>
              <a:ext uri="{C183D7F6-B498-43B3-948B-1728B52AA6E4}">
                <adec:decorative xmlns:adec="http://schemas.microsoft.com/office/drawing/2017/decorative" val="1"/>
              </a:ext>
            </a:extLst>
          </p:cNvPr>
          <p:cNvPicPr>
            <a:picLocks noChangeAspect="1"/>
          </p:cNvPicPr>
          <p:nvPr/>
        </p:nvPicPr>
        <p:blipFill>
          <a:blip r:embed="rId3" cstate="screen">
            <a:extLst>
              <a:ext uri="{28A0092B-C50C-407E-A947-70E740481C1C}">
                <a14:useLocalDpi xmlns:a14="http://schemas.microsoft.com/office/drawing/2010/main"/>
              </a:ext>
            </a:extLst>
          </a:blip>
          <a:srcRect/>
          <a:stretch>
            <a:fillRect/>
          </a:stretch>
        </p:blipFill>
        <p:spPr>
          <a:xfrm>
            <a:off x="8564811" y="0"/>
            <a:ext cx="3627189" cy="2380343"/>
          </a:xfrm>
          <a:prstGeom prst="rect">
            <a:avLst/>
          </a:prstGeom>
        </p:spPr>
      </p:pic>
      <p:sp>
        <p:nvSpPr>
          <p:cNvPr id="10" name="Title 9">
            <a:extLst>
              <a:ext uri="{FF2B5EF4-FFF2-40B4-BE49-F238E27FC236}">
                <a16:creationId xmlns:a16="http://schemas.microsoft.com/office/drawing/2014/main" id="{FE94BCA7-0D58-637C-65C8-1DAE8A14C955}"/>
              </a:ext>
            </a:extLst>
          </p:cNvPr>
          <p:cNvSpPr>
            <a:spLocks noGrp="1"/>
          </p:cNvSpPr>
          <p:nvPr>
            <p:ph type="title"/>
          </p:nvPr>
        </p:nvSpPr>
        <p:spPr>
          <a:xfrm>
            <a:off x="511628" y="574386"/>
            <a:ext cx="11185072" cy="498598"/>
          </a:xfrm>
        </p:spPr>
        <p:txBody>
          <a:bodyPr/>
          <a:lstStyle/>
          <a:p>
            <a:r>
              <a:rPr lang="en-US" dirty="0"/>
              <a:t>Event recommendations</a:t>
            </a:r>
            <a:endParaRPr lang="en-GB" dirty="0"/>
          </a:p>
        </p:txBody>
      </p:sp>
      <p:sp>
        <p:nvSpPr>
          <p:cNvPr id="3" name="TextBox 2">
            <a:extLst>
              <a:ext uri="{FF2B5EF4-FFF2-40B4-BE49-F238E27FC236}">
                <a16:creationId xmlns:a16="http://schemas.microsoft.com/office/drawing/2014/main" id="{B9092342-DFEF-3A68-916B-273875DF06F3}"/>
              </a:ext>
            </a:extLst>
          </p:cNvPr>
          <p:cNvSpPr txBox="1"/>
          <p:nvPr/>
        </p:nvSpPr>
        <p:spPr>
          <a:xfrm>
            <a:off x="686345" y="1619568"/>
            <a:ext cx="10819310" cy="457200"/>
          </a:xfrm>
          <a:prstGeom prst="roundRect">
            <a:avLst>
              <a:gd name="adj" fmla="val 50000"/>
            </a:avLst>
          </a:prstGeom>
          <a:gradFill flip="none" rotWithShape="1">
            <a:gsLst>
              <a:gs pos="0">
                <a:srgbClr val="0078D4"/>
              </a:gs>
              <a:gs pos="100000">
                <a:srgbClr val="C53FCC"/>
              </a:gs>
            </a:gsLst>
            <a:lin ang="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lIns="182880" tIns="137160" rIns="182880" bIns="137160" rtlCol="0" anchor="ctr"/>
          <a:lstStyle>
            <a:defPPr>
              <a:defRPr lang="en-US"/>
            </a:defPPr>
            <a:lvl1pPr marR="0" lvl="0" indent="0" fontAlgn="auto">
              <a:lnSpc>
                <a:spcPct val="100000"/>
              </a:lnSpc>
              <a:spcBef>
                <a:spcPts val="0"/>
              </a:spcBef>
              <a:spcAft>
                <a:spcPts val="0"/>
              </a:spcAft>
              <a:buClrTx/>
              <a:buSzTx/>
              <a:buFontTx/>
              <a:buNone/>
              <a:tabLst/>
              <a:defRPr kumimoji="0" sz="2000" b="0" i="0" u="none" strike="noStrike" cap="none" spc="0" normalizeH="0" baseline="0">
                <a:ln>
                  <a:noFill/>
                </a:ln>
                <a:solidFill>
                  <a:schemeClr val="bg1"/>
                </a:solidFill>
                <a:effectLst/>
                <a:uLnTx/>
                <a:uFillTx/>
                <a:latin typeface="+mj-lt"/>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defRPr/>
            </a:pPr>
            <a:r>
              <a:rPr lang="en-US">
                <a:solidFill>
                  <a:prstClr val="white"/>
                </a:solidFill>
                <a:latin typeface="Segoe UI Semibold"/>
              </a:rPr>
              <a:t>Event Setup </a:t>
            </a:r>
            <a:endParaRPr lang="en-US">
              <a:solidFill>
                <a:srgbClr val="000000"/>
              </a:solidFill>
              <a:latin typeface="Segoe UI Semibold"/>
            </a:endParaRPr>
          </a:p>
        </p:txBody>
      </p:sp>
      <p:grpSp>
        <p:nvGrpSpPr>
          <p:cNvPr id="52" name="Group 51">
            <a:extLst>
              <a:ext uri="{FF2B5EF4-FFF2-40B4-BE49-F238E27FC236}">
                <a16:creationId xmlns:a16="http://schemas.microsoft.com/office/drawing/2014/main" id="{C0CC63B8-6344-EEEC-F02E-2750D48BF3DE}"/>
              </a:ext>
              <a:ext uri="{C183D7F6-B498-43B3-948B-1728B52AA6E4}">
                <adec:decorative xmlns:adec="http://schemas.microsoft.com/office/drawing/2017/decorative" val="1"/>
              </a:ext>
            </a:extLst>
          </p:cNvPr>
          <p:cNvGrpSpPr/>
          <p:nvPr/>
        </p:nvGrpSpPr>
        <p:grpSpPr>
          <a:xfrm>
            <a:off x="11084685" y="1672949"/>
            <a:ext cx="355918" cy="355918"/>
            <a:chOff x="11187427" y="1578769"/>
            <a:chExt cx="355918" cy="355918"/>
          </a:xfrm>
        </p:grpSpPr>
        <p:sp>
          <p:nvSpPr>
            <p:cNvPr id="18" name="Oval 17">
              <a:extLst>
                <a:ext uri="{FF2B5EF4-FFF2-40B4-BE49-F238E27FC236}">
                  <a16:creationId xmlns:a16="http://schemas.microsoft.com/office/drawing/2014/main" id="{168412A9-68D2-0BBF-6447-36B05FCBA25A}"/>
                </a:ext>
              </a:extLst>
            </p:cNvPr>
            <p:cNvSpPr/>
            <p:nvPr/>
          </p:nvSpPr>
          <p:spPr>
            <a:xfrm>
              <a:off x="11187427" y="1578769"/>
              <a:ext cx="355918" cy="355918"/>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51" name="Graphic 2" descr="Icon of a gear">
              <a:extLst>
                <a:ext uri="{FF2B5EF4-FFF2-40B4-BE49-F238E27FC236}">
                  <a16:creationId xmlns:a16="http://schemas.microsoft.com/office/drawing/2014/main" id="{C70B07B9-8898-6C64-8F51-20F70C951858}"/>
                </a:ext>
              </a:extLst>
            </p:cNvPr>
            <p:cNvSpPr/>
            <p:nvPr/>
          </p:nvSpPr>
          <p:spPr>
            <a:xfrm>
              <a:off x="11235483" y="1626825"/>
              <a:ext cx="259806" cy="259806"/>
            </a:xfrm>
            <a:custGeom>
              <a:avLst/>
              <a:gdLst>
                <a:gd name="connsiteX0" fmla="*/ 89274 w 178348"/>
                <a:gd name="connsiteY0" fmla="*/ 0 h 185732"/>
                <a:gd name="connsiteX1" fmla="*/ 110058 w 178348"/>
                <a:gd name="connsiteY1" fmla="*/ 2410 h 185732"/>
                <a:gd name="connsiteX2" fmla="*/ 115601 w 178348"/>
                <a:gd name="connsiteY2" fmla="*/ 8592 h 185732"/>
                <a:gd name="connsiteX3" fmla="*/ 117220 w 178348"/>
                <a:gd name="connsiteY3" fmla="*/ 23136 h 185732"/>
                <a:gd name="connsiteX4" fmla="*/ 131782 w 178348"/>
                <a:gd name="connsiteY4" fmla="*/ 34777 h 185732"/>
                <a:gd name="connsiteX5" fmla="*/ 135575 w 178348"/>
                <a:gd name="connsiteY5" fmla="*/ 33766 h 185732"/>
                <a:gd name="connsiteX6" fmla="*/ 148920 w 178348"/>
                <a:gd name="connsiteY6" fmla="*/ 27908 h 185732"/>
                <a:gd name="connsiteX7" fmla="*/ 157016 w 178348"/>
                <a:gd name="connsiteY7" fmla="*/ 29566 h 185732"/>
                <a:gd name="connsiteX8" fmla="*/ 178009 w 178348"/>
                <a:gd name="connsiteY8" fmla="*/ 65684 h 185732"/>
                <a:gd name="connsiteX9" fmla="*/ 175428 w 178348"/>
                <a:gd name="connsiteY9" fmla="*/ 73543 h 185732"/>
                <a:gd name="connsiteX10" fmla="*/ 163598 w 178348"/>
                <a:gd name="connsiteY10" fmla="*/ 82267 h 185732"/>
                <a:gd name="connsiteX11" fmla="*/ 160784 w 178348"/>
                <a:gd name="connsiteY11" fmla="*/ 100656 h 185732"/>
                <a:gd name="connsiteX12" fmla="*/ 163598 w 178348"/>
                <a:gd name="connsiteY12" fmla="*/ 103470 h 185732"/>
                <a:gd name="connsiteX13" fmla="*/ 175437 w 178348"/>
                <a:gd name="connsiteY13" fmla="*/ 112185 h 185732"/>
                <a:gd name="connsiteX14" fmla="*/ 178028 w 178348"/>
                <a:gd name="connsiteY14" fmla="*/ 120053 h 185732"/>
                <a:gd name="connsiteX15" fmla="*/ 157035 w 178348"/>
                <a:gd name="connsiteY15" fmla="*/ 156172 h 185732"/>
                <a:gd name="connsiteX16" fmla="*/ 148958 w 178348"/>
                <a:gd name="connsiteY16" fmla="*/ 157839 h 185732"/>
                <a:gd name="connsiteX17" fmla="*/ 135556 w 178348"/>
                <a:gd name="connsiteY17" fmla="*/ 151962 h 185732"/>
                <a:gd name="connsiteX18" fmla="*/ 118240 w 178348"/>
                <a:gd name="connsiteY18" fmla="*/ 158722 h 185732"/>
                <a:gd name="connsiteX19" fmla="*/ 117211 w 178348"/>
                <a:gd name="connsiteY19" fmla="*/ 162573 h 185732"/>
                <a:gd name="connsiteX20" fmla="*/ 115601 w 178348"/>
                <a:gd name="connsiteY20" fmla="*/ 177108 h 185732"/>
                <a:gd name="connsiteX21" fmla="*/ 110153 w 178348"/>
                <a:gd name="connsiteY21" fmla="*/ 183271 h 185732"/>
                <a:gd name="connsiteX22" fmla="*/ 68186 w 178348"/>
                <a:gd name="connsiteY22" fmla="*/ 183271 h 185732"/>
                <a:gd name="connsiteX23" fmla="*/ 62737 w 178348"/>
                <a:gd name="connsiteY23" fmla="*/ 177108 h 185732"/>
                <a:gd name="connsiteX24" fmla="*/ 61137 w 178348"/>
                <a:gd name="connsiteY24" fmla="*/ 162592 h 185732"/>
                <a:gd name="connsiteX25" fmla="*/ 46567 w 178348"/>
                <a:gd name="connsiteY25" fmla="*/ 151005 h 185732"/>
                <a:gd name="connsiteX26" fmla="*/ 42792 w 178348"/>
                <a:gd name="connsiteY26" fmla="*/ 152019 h 185732"/>
                <a:gd name="connsiteX27" fmla="*/ 29400 w 178348"/>
                <a:gd name="connsiteY27" fmla="*/ 157886 h 185732"/>
                <a:gd name="connsiteX28" fmla="*/ 21313 w 178348"/>
                <a:gd name="connsiteY28" fmla="*/ 156220 h 185732"/>
                <a:gd name="connsiteX29" fmla="*/ 320 w 178348"/>
                <a:gd name="connsiteY29" fmla="*/ 120063 h 185732"/>
                <a:gd name="connsiteX30" fmla="*/ 2911 w 178348"/>
                <a:gd name="connsiteY30" fmla="*/ 112195 h 185732"/>
                <a:gd name="connsiteX31" fmla="*/ 14751 w 178348"/>
                <a:gd name="connsiteY31" fmla="*/ 103470 h 185732"/>
                <a:gd name="connsiteX32" fmla="*/ 17581 w 178348"/>
                <a:gd name="connsiteY32" fmla="*/ 85097 h 185732"/>
                <a:gd name="connsiteX33" fmla="*/ 14751 w 178348"/>
                <a:gd name="connsiteY33" fmla="*/ 82267 h 185732"/>
                <a:gd name="connsiteX34" fmla="*/ 2911 w 178348"/>
                <a:gd name="connsiteY34" fmla="*/ 73562 h 185732"/>
                <a:gd name="connsiteX35" fmla="*/ 330 w 178348"/>
                <a:gd name="connsiteY35" fmla="*/ 65694 h 185732"/>
                <a:gd name="connsiteX36" fmla="*/ 21323 w 178348"/>
                <a:gd name="connsiteY36" fmla="*/ 29575 h 185732"/>
                <a:gd name="connsiteX37" fmla="*/ 29419 w 178348"/>
                <a:gd name="connsiteY37" fmla="*/ 27918 h 185732"/>
                <a:gd name="connsiteX38" fmla="*/ 42754 w 178348"/>
                <a:gd name="connsiteY38" fmla="*/ 33776 h 185732"/>
                <a:gd name="connsiteX39" fmla="*/ 60130 w 178348"/>
                <a:gd name="connsiteY39" fmla="*/ 26909 h 185732"/>
                <a:gd name="connsiteX40" fmla="*/ 61137 w 178348"/>
                <a:gd name="connsiteY40" fmla="*/ 23127 h 185732"/>
                <a:gd name="connsiteX41" fmla="*/ 62757 w 178348"/>
                <a:gd name="connsiteY41" fmla="*/ 8592 h 185732"/>
                <a:gd name="connsiteX42" fmla="*/ 68310 w 178348"/>
                <a:gd name="connsiteY42" fmla="*/ 2400 h 185732"/>
                <a:gd name="connsiteX43" fmla="*/ 89274 w 178348"/>
                <a:gd name="connsiteY43" fmla="*/ 0 h 185732"/>
                <a:gd name="connsiteX44" fmla="*/ 89274 w 178348"/>
                <a:gd name="connsiteY44" fmla="*/ 14288 h 185732"/>
                <a:gd name="connsiteX45" fmla="*/ 76377 w 178348"/>
                <a:gd name="connsiteY45" fmla="*/ 15402 h 185732"/>
                <a:gd name="connsiteX46" fmla="*/ 75339 w 178348"/>
                <a:gd name="connsiteY46" fmla="*/ 24708 h 185732"/>
                <a:gd name="connsiteX47" fmla="*/ 44984 w 178348"/>
                <a:gd name="connsiteY47" fmla="*/ 48995 h 185732"/>
                <a:gd name="connsiteX48" fmla="*/ 37010 w 178348"/>
                <a:gd name="connsiteY48" fmla="*/ 46863 h 185732"/>
                <a:gd name="connsiteX49" fmla="*/ 28457 w 178348"/>
                <a:gd name="connsiteY49" fmla="*/ 43110 h 185732"/>
                <a:gd name="connsiteX50" fmla="*/ 15617 w 178348"/>
                <a:gd name="connsiteY50" fmla="*/ 65180 h 185732"/>
                <a:gd name="connsiteX51" fmla="*/ 23218 w 178348"/>
                <a:gd name="connsiteY51" fmla="*/ 70771 h 185732"/>
                <a:gd name="connsiteX52" fmla="*/ 29080 w 178348"/>
                <a:gd name="connsiteY52" fmla="*/ 109134 h 185732"/>
                <a:gd name="connsiteX53" fmla="*/ 23218 w 178348"/>
                <a:gd name="connsiteY53" fmla="*/ 114995 h 185732"/>
                <a:gd name="connsiteX54" fmla="*/ 15608 w 178348"/>
                <a:gd name="connsiteY54" fmla="*/ 120596 h 185732"/>
                <a:gd name="connsiteX55" fmla="*/ 28447 w 178348"/>
                <a:gd name="connsiteY55" fmla="*/ 142713 h 185732"/>
                <a:gd name="connsiteX56" fmla="*/ 37068 w 178348"/>
                <a:gd name="connsiteY56" fmla="*/ 138932 h 185732"/>
                <a:gd name="connsiteX57" fmla="*/ 73209 w 178348"/>
                <a:gd name="connsiteY57" fmla="*/ 153105 h 185732"/>
                <a:gd name="connsiteX58" fmla="*/ 75330 w 178348"/>
                <a:gd name="connsiteY58" fmla="*/ 161011 h 185732"/>
                <a:gd name="connsiteX59" fmla="*/ 76377 w 178348"/>
                <a:gd name="connsiteY59" fmla="*/ 170383 h 185732"/>
                <a:gd name="connsiteX60" fmla="*/ 101971 w 178348"/>
                <a:gd name="connsiteY60" fmla="*/ 170383 h 185732"/>
                <a:gd name="connsiteX61" fmla="*/ 103019 w 178348"/>
                <a:gd name="connsiteY61" fmla="*/ 161011 h 185732"/>
                <a:gd name="connsiteX62" fmla="*/ 133318 w 178348"/>
                <a:gd name="connsiteY62" fmla="*/ 136761 h 185732"/>
                <a:gd name="connsiteX63" fmla="*/ 141290 w 178348"/>
                <a:gd name="connsiteY63" fmla="*/ 138894 h 185732"/>
                <a:gd name="connsiteX64" fmla="*/ 149910 w 178348"/>
                <a:gd name="connsiteY64" fmla="*/ 142665 h 185732"/>
                <a:gd name="connsiteX65" fmla="*/ 162740 w 178348"/>
                <a:gd name="connsiteY65" fmla="*/ 120587 h 185732"/>
                <a:gd name="connsiteX66" fmla="*/ 155140 w 178348"/>
                <a:gd name="connsiteY66" fmla="*/ 114986 h 185732"/>
                <a:gd name="connsiteX67" fmla="*/ 149278 w 178348"/>
                <a:gd name="connsiteY67" fmla="*/ 76623 h 185732"/>
                <a:gd name="connsiteX68" fmla="*/ 155140 w 178348"/>
                <a:gd name="connsiteY68" fmla="*/ 70761 h 185732"/>
                <a:gd name="connsiteX69" fmla="*/ 162721 w 178348"/>
                <a:gd name="connsiteY69" fmla="*/ 65170 h 185732"/>
                <a:gd name="connsiteX70" fmla="*/ 149882 w 178348"/>
                <a:gd name="connsiteY70" fmla="*/ 43101 h 185732"/>
                <a:gd name="connsiteX71" fmla="*/ 141347 w 178348"/>
                <a:gd name="connsiteY71" fmla="*/ 46844 h 185732"/>
                <a:gd name="connsiteX72" fmla="*/ 105167 w 178348"/>
                <a:gd name="connsiteY72" fmla="*/ 32696 h 185732"/>
                <a:gd name="connsiteX73" fmla="*/ 103028 w 178348"/>
                <a:gd name="connsiteY73" fmla="*/ 24708 h 185732"/>
                <a:gd name="connsiteX74" fmla="*/ 101980 w 178348"/>
                <a:gd name="connsiteY74" fmla="*/ 15411 h 185732"/>
                <a:gd name="connsiteX75" fmla="*/ 89284 w 178348"/>
                <a:gd name="connsiteY75" fmla="*/ 14297 h 185732"/>
                <a:gd name="connsiteX76" fmla="*/ 89160 w 178348"/>
                <a:gd name="connsiteY76" fmla="*/ 57150 h 185732"/>
                <a:gd name="connsiteX77" fmla="*/ 124879 w 178348"/>
                <a:gd name="connsiteY77" fmla="*/ 92869 h 185732"/>
                <a:gd name="connsiteX78" fmla="*/ 89160 w 178348"/>
                <a:gd name="connsiteY78" fmla="*/ 128588 h 185732"/>
                <a:gd name="connsiteX79" fmla="*/ 53441 w 178348"/>
                <a:gd name="connsiteY79" fmla="*/ 92869 h 185732"/>
                <a:gd name="connsiteX80" fmla="*/ 89160 w 178348"/>
                <a:gd name="connsiteY80" fmla="*/ 57150 h 185732"/>
                <a:gd name="connsiteX81" fmla="*/ 89160 w 178348"/>
                <a:gd name="connsiteY81" fmla="*/ 71438 h 185732"/>
                <a:gd name="connsiteX82" fmla="*/ 67729 w 178348"/>
                <a:gd name="connsiteY82" fmla="*/ 92869 h 185732"/>
                <a:gd name="connsiteX83" fmla="*/ 89160 w 178348"/>
                <a:gd name="connsiteY83" fmla="*/ 114300 h 185732"/>
                <a:gd name="connsiteX84" fmla="*/ 110591 w 178348"/>
                <a:gd name="connsiteY84" fmla="*/ 92869 h 185732"/>
                <a:gd name="connsiteX85" fmla="*/ 89160 w 178348"/>
                <a:gd name="connsiteY85" fmla="*/ 71438 h 1857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Lst>
              <a:rect l="l" t="t" r="r" b="b"/>
              <a:pathLst>
                <a:path w="178348" h="185732">
                  <a:moveTo>
                    <a:pt x="89274" y="0"/>
                  </a:moveTo>
                  <a:cubicBezTo>
                    <a:pt x="96265" y="76"/>
                    <a:pt x="103228" y="886"/>
                    <a:pt x="110058" y="2410"/>
                  </a:cubicBezTo>
                  <a:cubicBezTo>
                    <a:pt x="113036" y="3075"/>
                    <a:pt x="115263" y="5558"/>
                    <a:pt x="115601" y="8592"/>
                  </a:cubicBezTo>
                  <a:lnTo>
                    <a:pt x="117220" y="23136"/>
                  </a:lnTo>
                  <a:cubicBezTo>
                    <a:pt x="118027" y="30372"/>
                    <a:pt x="124547" y="35584"/>
                    <a:pt x="131782" y="34777"/>
                  </a:cubicBezTo>
                  <a:cubicBezTo>
                    <a:pt x="133090" y="34631"/>
                    <a:pt x="134368" y="34290"/>
                    <a:pt x="135575" y="33766"/>
                  </a:cubicBezTo>
                  <a:lnTo>
                    <a:pt x="148920" y="27908"/>
                  </a:lnTo>
                  <a:cubicBezTo>
                    <a:pt x="151696" y="26685"/>
                    <a:pt x="154943" y="27350"/>
                    <a:pt x="157016" y="29566"/>
                  </a:cubicBezTo>
                  <a:cubicBezTo>
                    <a:pt x="166654" y="39863"/>
                    <a:pt x="173832" y="52212"/>
                    <a:pt x="178009" y="65684"/>
                  </a:cubicBezTo>
                  <a:cubicBezTo>
                    <a:pt x="178906" y="68586"/>
                    <a:pt x="177871" y="71738"/>
                    <a:pt x="175428" y="73543"/>
                  </a:cubicBezTo>
                  <a:lnTo>
                    <a:pt x="163598" y="82267"/>
                  </a:lnTo>
                  <a:cubicBezTo>
                    <a:pt x="157743" y="86568"/>
                    <a:pt x="156483" y="94801"/>
                    <a:pt x="160784" y="100656"/>
                  </a:cubicBezTo>
                  <a:cubicBezTo>
                    <a:pt x="161574" y="101731"/>
                    <a:pt x="162522" y="102680"/>
                    <a:pt x="163598" y="103470"/>
                  </a:cubicBezTo>
                  <a:lnTo>
                    <a:pt x="175437" y="112185"/>
                  </a:lnTo>
                  <a:cubicBezTo>
                    <a:pt x="177888" y="113989"/>
                    <a:pt x="178928" y="117146"/>
                    <a:pt x="178028" y="120053"/>
                  </a:cubicBezTo>
                  <a:cubicBezTo>
                    <a:pt x="173849" y="133524"/>
                    <a:pt x="166672" y="145873"/>
                    <a:pt x="157035" y="156172"/>
                  </a:cubicBezTo>
                  <a:cubicBezTo>
                    <a:pt x="154967" y="158383"/>
                    <a:pt x="151731" y="159050"/>
                    <a:pt x="148958" y="157839"/>
                  </a:cubicBezTo>
                  <a:lnTo>
                    <a:pt x="135556" y="151962"/>
                  </a:lnTo>
                  <a:cubicBezTo>
                    <a:pt x="128908" y="149046"/>
                    <a:pt x="121154" y="152073"/>
                    <a:pt x="118240" y="158722"/>
                  </a:cubicBezTo>
                  <a:cubicBezTo>
                    <a:pt x="117703" y="159946"/>
                    <a:pt x="117356" y="161244"/>
                    <a:pt x="117211" y="162573"/>
                  </a:cubicBezTo>
                  <a:lnTo>
                    <a:pt x="115601" y="177108"/>
                  </a:lnTo>
                  <a:cubicBezTo>
                    <a:pt x="115269" y="180106"/>
                    <a:pt x="113089" y="182573"/>
                    <a:pt x="110153" y="183271"/>
                  </a:cubicBezTo>
                  <a:cubicBezTo>
                    <a:pt x="96356" y="186553"/>
                    <a:pt x="81983" y="186553"/>
                    <a:pt x="68186" y="183271"/>
                  </a:cubicBezTo>
                  <a:cubicBezTo>
                    <a:pt x="65251" y="182573"/>
                    <a:pt x="63070" y="180106"/>
                    <a:pt x="62737" y="177108"/>
                  </a:cubicBezTo>
                  <a:lnTo>
                    <a:pt x="61137" y="162592"/>
                  </a:lnTo>
                  <a:cubicBezTo>
                    <a:pt x="60314" y="155369"/>
                    <a:pt x="53790" y="150181"/>
                    <a:pt x="46567" y="151005"/>
                  </a:cubicBezTo>
                  <a:cubicBezTo>
                    <a:pt x="45265" y="151153"/>
                    <a:pt x="43993" y="151495"/>
                    <a:pt x="42792" y="152019"/>
                  </a:cubicBezTo>
                  <a:lnTo>
                    <a:pt x="29400" y="157886"/>
                  </a:lnTo>
                  <a:cubicBezTo>
                    <a:pt x="26624" y="159103"/>
                    <a:pt x="23382" y="158434"/>
                    <a:pt x="21313" y="156220"/>
                  </a:cubicBezTo>
                  <a:cubicBezTo>
                    <a:pt x="11671" y="145910"/>
                    <a:pt x="4493" y="133547"/>
                    <a:pt x="320" y="120063"/>
                  </a:cubicBezTo>
                  <a:cubicBezTo>
                    <a:pt x="-580" y="117156"/>
                    <a:pt x="460" y="113998"/>
                    <a:pt x="2911" y="112195"/>
                  </a:cubicBezTo>
                  <a:lnTo>
                    <a:pt x="14751" y="103470"/>
                  </a:lnTo>
                  <a:cubicBezTo>
                    <a:pt x="20605" y="99178"/>
                    <a:pt x="21873" y="90952"/>
                    <a:pt x="17581" y="85097"/>
                  </a:cubicBezTo>
                  <a:cubicBezTo>
                    <a:pt x="16787" y="84015"/>
                    <a:pt x="15833" y="83061"/>
                    <a:pt x="14751" y="82267"/>
                  </a:cubicBezTo>
                  <a:lnTo>
                    <a:pt x="2911" y="73562"/>
                  </a:lnTo>
                  <a:cubicBezTo>
                    <a:pt x="463" y="71756"/>
                    <a:pt x="-573" y="68599"/>
                    <a:pt x="330" y="65694"/>
                  </a:cubicBezTo>
                  <a:cubicBezTo>
                    <a:pt x="4507" y="52222"/>
                    <a:pt x="11684" y="39873"/>
                    <a:pt x="21323" y="29575"/>
                  </a:cubicBezTo>
                  <a:cubicBezTo>
                    <a:pt x="23396" y="27359"/>
                    <a:pt x="26642" y="26695"/>
                    <a:pt x="29419" y="27918"/>
                  </a:cubicBezTo>
                  <a:lnTo>
                    <a:pt x="42754" y="33776"/>
                  </a:lnTo>
                  <a:cubicBezTo>
                    <a:pt x="49448" y="36678"/>
                    <a:pt x="57228" y="33603"/>
                    <a:pt x="60130" y="26909"/>
                  </a:cubicBezTo>
                  <a:cubicBezTo>
                    <a:pt x="60652" y="25705"/>
                    <a:pt x="60991" y="24430"/>
                    <a:pt x="61137" y="23127"/>
                  </a:cubicBezTo>
                  <a:lnTo>
                    <a:pt x="62757" y="8592"/>
                  </a:lnTo>
                  <a:cubicBezTo>
                    <a:pt x="63092" y="5552"/>
                    <a:pt x="65324" y="3063"/>
                    <a:pt x="68310" y="2400"/>
                  </a:cubicBezTo>
                  <a:cubicBezTo>
                    <a:pt x="75139" y="886"/>
                    <a:pt x="82121" y="86"/>
                    <a:pt x="89274" y="0"/>
                  </a:cubicBezTo>
                  <a:close/>
                  <a:moveTo>
                    <a:pt x="89274" y="14288"/>
                  </a:moveTo>
                  <a:cubicBezTo>
                    <a:pt x="84954" y="14338"/>
                    <a:pt x="80643" y="14711"/>
                    <a:pt x="76377" y="15402"/>
                  </a:cubicBezTo>
                  <a:lnTo>
                    <a:pt x="75339" y="24708"/>
                  </a:lnTo>
                  <a:cubicBezTo>
                    <a:pt x="73664" y="39797"/>
                    <a:pt x="60073" y="50671"/>
                    <a:pt x="44984" y="48995"/>
                  </a:cubicBezTo>
                  <a:cubicBezTo>
                    <a:pt x="42234" y="48690"/>
                    <a:pt x="39546" y="47971"/>
                    <a:pt x="37010" y="46863"/>
                  </a:cubicBezTo>
                  <a:lnTo>
                    <a:pt x="28457" y="43110"/>
                  </a:lnTo>
                  <a:cubicBezTo>
                    <a:pt x="23009" y="49722"/>
                    <a:pt x="18672" y="57176"/>
                    <a:pt x="15617" y="65180"/>
                  </a:cubicBezTo>
                  <a:lnTo>
                    <a:pt x="23218" y="70771"/>
                  </a:lnTo>
                  <a:cubicBezTo>
                    <a:pt x="35431" y="79746"/>
                    <a:pt x="38055" y="96922"/>
                    <a:pt x="29080" y="109134"/>
                  </a:cubicBezTo>
                  <a:cubicBezTo>
                    <a:pt x="27434" y="111373"/>
                    <a:pt x="25458" y="113349"/>
                    <a:pt x="23218" y="114995"/>
                  </a:cubicBezTo>
                  <a:lnTo>
                    <a:pt x="15608" y="120596"/>
                  </a:lnTo>
                  <a:cubicBezTo>
                    <a:pt x="18656" y="128616"/>
                    <a:pt x="22999" y="136084"/>
                    <a:pt x="28447" y="142713"/>
                  </a:cubicBezTo>
                  <a:lnTo>
                    <a:pt x="37068" y="138932"/>
                  </a:lnTo>
                  <a:cubicBezTo>
                    <a:pt x="50962" y="132865"/>
                    <a:pt x="67143" y="139211"/>
                    <a:pt x="73209" y="153105"/>
                  </a:cubicBezTo>
                  <a:cubicBezTo>
                    <a:pt x="74308" y="155619"/>
                    <a:pt x="75022" y="158285"/>
                    <a:pt x="75330" y="161011"/>
                  </a:cubicBezTo>
                  <a:lnTo>
                    <a:pt x="76377" y="170383"/>
                  </a:lnTo>
                  <a:cubicBezTo>
                    <a:pt x="84845" y="171812"/>
                    <a:pt x="93503" y="171812"/>
                    <a:pt x="101971" y="170383"/>
                  </a:cubicBezTo>
                  <a:lnTo>
                    <a:pt x="103019" y="161011"/>
                  </a:lnTo>
                  <a:cubicBezTo>
                    <a:pt x="104689" y="145948"/>
                    <a:pt x="118254" y="135090"/>
                    <a:pt x="133318" y="136761"/>
                  </a:cubicBezTo>
                  <a:cubicBezTo>
                    <a:pt x="136068" y="137066"/>
                    <a:pt x="138756" y="137785"/>
                    <a:pt x="141290" y="138894"/>
                  </a:cubicBezTo>
                  <a:lnTo>
                    <a:pt x="149910" y="142665"/>
                  </a:lnTo>
                  <a:cubicBezTo>
                    <a:pt x="155356" y="136050"/>
                    <a:pt x="159689" y="128593"/>
                    <a:pt x="162740" y="120587"/>
                  </a:cubicBezTo>
                  <a:lnTo>
                    <a:pt x="155140" y="114986"/>
                  </a:lnTo>
                  <a:cubicBezTo>
                    <a:pt x="142928" y="106010"/>
                    <a:pt x="140303" y="88835"/>
                    <a:pt x="149278" y="76623"/>
                  </a:cubicBezTo>
                  <a:cubicBezTo>
                    <a:pt x="150924" y="74384"/>
                    <a:pt x="152900" y="72407"/>
                    <a:pt x="155140" y="70761"/>
                  </a:cubicBezTo>
                  <a:lnTo>
                    <a:pt x="162721" y="65170"/>
                  </a:lnTo>
                  <a:cubicBezTo>
                    <a:pt x="159667" y="57166"/>
                    <a:pt x="155330" y="49712"/>
                    <a:pt x="149882" y="43101"/>
                  </a:cubicBezTo>
                  <a:lnTo>
                    <a:pt x="141347" y="46844"/>
                  </a:lnTo>
                  <a:cubicBezTo>
                    <a:pt x="127449" y="52928"/>
                    <a:pt x="111251" y="46594"/>
                    <a:pt x="105167" y="32696"/>
                  </a:cubicBezTo>
                  <a:cubicBezTo>
                    <a:pt x="104055" y="30156"/>
                    <a:pt x="103334" y="27463"/>
                    <a:pt x="103028" y="24708"/>
                  </a:cubicBezTo>
                  <a:lnTo>
                    <a:pt x="101980" y="15411"/>
                  </a:lnTo>
                  <a:cubicBezTo>
                    <a:pt x="97782" y="14725"/>
                    <a:pt x="93538" y="14352"/>
                    <a:pt x="89284" y="14297"/>
                  </a:cubicBezTo>
                  <a:close/>
                  <a:moveTo>
                    <a:pt x="89160" y="57150"/>
                  </a:moveTo>
                  <a:cubicBezTo>
                    <a:pt x="108887" y="57150"/>
                    <a:pt x="124879" y="73142"/>
                    <a:pt x="124879" y="92869"/>
                  </a:cubicBezTo>
                  <a:cubicBezTo>
                    <a:pt x="124879" y="112596"/>
                    <a:pt x="108887" y="128588"/>
                    <a:pt x="89160" y="128588"/>
                  </a:cubicBezTo>
                  <a:cubicBezTo>
                    <a:pt x="69433" y="128588"/>
                    <a:pt x="53441" y="112596"/>
                    <a:pt x="53441" y="92869"/>
                  </a:cubicBezTo>
                  <a:cubicBezTo>
                    <a:pt x="53441" y="73142"/>
                    <a:pt x="69433" y="57150"/>
                    <a:pt x="89160" y="57150"/>
                  </a:cubicBezTo>
                  <a:close/>
                  <a:moveTo>
                    <a:pt x="89160" y="71438"/>
                  </a:moveTo>
                  <a:cubicBezTo>
                    <a:pt x="77324" y="71438"/>
                    <a:pt x="67729" y="81033"/>
                    <a:pt x="67729" y="92869"/>
                  </a:cubicBezTo>
                  <a:cubicBezTo>
                    <a:pt x="67729" y="104705"/>
                    <a:pt x="77324" y="114300"/>
                    <a:pt x="89160" y="114300"/>
                  </a:cubicBezTo>
                  <a:cubicBezTo>
                    <a:pt x="100996" y="114300"/>
                    <a:pt x="110591" y="104705"/>
                    <a:pt x="110591" y="92869"/>
                  </a:cubicBezTo>
                  <a:cubicBezTo>
                    <a:pt x="110591" y="81033"/>
                    <a:pt x="100996" y="71438"/>
                    <a:pt x="89160" y="71438"/>
                  </a:cubicBezTo>
                  <a:close/>
                </a:path>
              </a:pathLst>
            </a:custGeom>
            <a:gradFill flip="none" rotWithShape="1">
              <a:gsLst>
                <a:gs pos="0">
                  <a:srgbClr val="0078D4"/>
                </a:gs>
                <a:gs pos="100000">
                  <a:srgbClr val="C53FCC"/>
                </a:gs>
              </a:gsLst>
              <a:lin ang="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lIns="704088" tIns="45720" rIns="91440" bIns="45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white"/>
                </a:solidFill>
                <a:effectLst/>
                <a:uLnTx/>
                <a:uFillTx/>
                <a:latin typeface="Segoe UI Semibold"/>
                <a:ea typeface="+mn-ea"/>
                <a:cs typeface="+mn-cs"/>
              </a:endParaRPr>
            </a:p>
          </p:txBody>
        </p:sp>
      </p:grpSp>
      <p:sp>
        <p:nvSpPr>
          <p:cNvPr id="5" name="TextBox 7, chunk 1, chunk 1">
            <a:extLst>
              <a:ext uri="{FF2B5EF4-FFF2-40B4-BE49-F238E27FC236}">
                <a16:creationId xmlns:a16="http://schemas.microsoft.com/office/drawing/2014/main" id="{B3FEABC0-39F2-6158-9603-046673287AA0}"/>
              </a:ext>
            </a:extLst>
          </p:cNvPr>
          <p:cNvSpPr txBox="1"/>
          <p:nvPr/>
        </p:nvSpPr>
        <p:spPr>
          <a:xfrm>
            <a:off x="840264" y="2149535"/>
            <a:ext cx="10511474" cy="1892826"/>
          </a:xfrm>
          <a:prstGeom prst="rect">
            <a:avLst/>
          </a:prstGeom>
          <a:noFill/>
        </p:spPr>
        <p:txBody>
          <a:bodyPr wrap="square" lIns="0" tIns="0" rIns="0" bIns="0" numCol="1" rtlCol="0" anchor="t">
            <a:spAutoFit/>
          </a:bodyPr>
          <a:lstStyle>
            <a:defPPr>
              <a:defRPr lang="en-US"/>
            </a:defPPr>
            <a:lvl1pPr marR="0" lvl="0" indent="0" fontAlgn="auto">
              <a:lnSpc>
                <a:spcPct val="100000"/>
              </a:lnSpc>
              <a:spcBef>
                <a:spcPts val="0"/>
              </a:spcBef>
              <a:spcAft>
                <a:spcPts val="0"/>
              </a:spcAft>
              <a:buClrTx/>
              <a:buSzTx/>
              <a:buFontTx/>
              <a:buNone/>
              <a:tabLst/>
              <a:defRPr kumimoji="0" sz="2000" b="0" i="0" u="none" strike="noStrike" kern="0" cap="none" spc="0" normalizeH="0" baseline="0">
                <a:ln>
                  <a:noFill/>
                </a:ln>
                <a:solidFill>
                  <a:prstClr val="black"/>
                </a:solidFill>
                <a:effectLst/>
                <a:uLnTx/>
                <a:uFillTx/>
                <a:latin typeface="Segoe UI"/>
              </a:defRPr>
            </a:lvl1pPr>
          </a:lstStyle>
          <a:p>
            <a:pPr marL="198120" indent="-198120">
              <a:spcAft>
                <a:spcPts val="600"/>
              </a:spcAft>
              <a:buFont typeface="Arial,Sans-Serif" panose="020B0604020202020204" pitchFamily="34" charset="0"/>
              <a:buChar char="•"/>
              <a:defRPr/>
            </a:pPr>
            <a:r>
              <a:rPr lang="en-US" sz="1800" dirty="0">
                <a:cs typeface="Segoe UI"/>
              </a:rPr>
              <a:t>1–2 coffee breaks &amp; lunch would need to be planned for</a:t>
            </a:r>
          </a:p>
          <a:p>
            <a:pPr marL="198120" indent="-198120">
              <a:spcAft>
                <a:spcPts val="600"/>
              </a:spcAft>
              <a:buFont typeface="Arial,Sans-Serif" panose="020B0604020202020204" pitchFamily="34" charset="0"/>
              <a:buChar char="•"/>
              <a:defRPr/>
            </a:pPr>
            <a:r>
              <a:rPr lang="en-US" sz="1800" dirty="0">
                <a:cs typeface="Segoe UI"/>
              </a:rPr>
              <a:t>If budget permits, allocate funds for swag for participants, and a prize for the winning team</a:t>
            </a:r>
          </a:p>
          <a:p>
            <a:pPr marL="198120" indent="-198120">
              <a:spcAft>
                <a:spcPts val="600"/>
              </a:spcAft>
              <a:buFont typeface="Arial,Sans-Serif" panose="020B0604020202020204" pitchFamily="34" charset="0"/>
              <a:buChar char="•"/>
              <a:defRPr/>
            </a:pPr>
            <a:r>
              <a:rPr lang="en-US" sz="1800" dirty="0">
                <a:cs typeface="Segoe UI"/>
              </a:rPr>
              <a:t>A large multipurpose room is needed tables that allow for group discussions between 4–5 people during the latter half of the day</a:t>
            </a:r>
          </a:p>
          <a:p>
            <a:pPr marL="198120" indent="-198120">
              <a:spcAft>
                <a:spcPts val="600"/>
              </a:spcAft>
              <a:buFont typeface="Arial,Sans-Serif" panose="020B0604020202020204" pitchFamily="34" charset="0"/>
              <a:buChar char="•"/>
              <a:defRPr/>
            </a:pPr>
            <a:r>
              <a:rPr lang="en-US" sz="1800" dirty="0">
                <a:cs typeface="Segoe UI"/>
              </a:rPr>
              <a:t>For the group break-out session, it is recommended that each table be setup with a screen so that all the team members can easily collaborate using a single device</a:t>
            </a:r>
          </a:p>
        </p:txBody>
      </p:sp>
    </p:spTree>
    <p:extLst>
      <p:ext uri="{BB962C8B-B14F-4D97-AF65-F5344CB8AC3E}">
        <p14:creationId xmlns:p14="http://schemas.microsoft.com/office/powerpoint/2010/main" val="42829438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2D0029E-3A92-8EEE-CB95-40268F78699B}"/>
            </a:ext>
          </a:extLst>
        </p:cNvPr>
        <p:cNvGrpSpPr/>
        <p:nvPr/>
      </p:nvGrpSpPr>
      <p:grpSpPr>
        <a:xfrm>
          <a:off x="0" y="0"/>
          <a:ext cx="0" cy="0"/>
          <a:chOff x="0" y="0"/>
          <a:chExt cx="0" cy="0"/>
        </a:xfrm>
      </p:grpSpPr>
      <p:pic>
        <p:nvPicPr>
          <p:cNvPr id="25" name="Picture 24">
            <a:extLst>
              <a:ext uri="{FF2B5EF4-FFF2-40B4-BE49-F238E27FC236}">
                <a16:creationId xmlns:a16="http://schemas.microsoft.com/office/drawing/2014/main" id="{9429CD6D-482B-5F84-FED6-586775163A31}"/>
              </a:ext>
              <a:ext uri="{C183D7F6-B498-43B3-948B-1728B52AA6E4}">
                <adec:decorative xmlns:adec="http://schemas.microsoft.com/office/drawing/2017/decorative" val="1"/>
              </a:ext>
            </a:extLst>
          </p:cNvPr>
          <p:cNvPicPr>
            <a:picLocks noChangeAspect="1"/>
          </p:cNvPicPr>
          <p:nvPr/>
        </p:nvPicPr>
        <p:blipFill>
          <a:blip r:embed="rId3" cstate="screen">
            <a:extLst>
              <a:ext uri="{28A0092B-C50C-407E-A947-70E740481C1C}">
                <a14:useLocalDpi xmlns:a14="http://schemas.microsoft.com/office/drawing/2010/main"/>
              </a:ext>
            </a:extLst>
          </a:blip>
          <a:srcRect/>
          <a:stretch>
            <a:fillRect/>
          </a:stretch>
        </p:blipFill>
        <p:spPr>
          <a:xfrm>
            <a:off x="8564811" y="0"/>
            <a:ext cx="3627189" cy="2380343"/>
          </a:xfrm>
          <a:prstGeom prst="rect">
            <a:avLst/>
          </a:prstGeom>
        </p:spPr>
      </p:pic>
      <p:sp>
        <p:nvSpPr>
          <p:cNvPr id="5" name="Rectangle: Rounded Corners 50">
            <a:extLst>
              <a:ext uri="{FF2B5EF4-FFF2-40B4-BE49-F238E27FC236}">
                <a16:creationId xmlns:a16="http://schemas.microsoft.com/office/drawing/2014/main" id="{645DBEF8-1232-673F-FA67-EA4D357817FA}"/>
              </a:ext>
              <a:ext uri="{C183D7F6-B498-43B3-948B-1728B52AA6E4}">
                <adec:decorative xmlns:adec="http://schemas.microsoft.com/office/drawing/2017/decorative" val="1"/>
              </a:ext>
            </a:extLst>
          </p:cNvPr>
          <p:cNvSpPr>
            <a:spLocks/>
          </p:cNvSpPr>
          <p:nvPr/>
        </p:nvSpPr>
        <p:spPr bwMode="auto">
          <a:xfrm>
            <a:off x="503464" y="1436688"/>
            <a:ext cx="11185072" cy="3318192"/>
          </a:xfrm>
          <a:prstGeom prst="roundRect">
            <a:avLst>
              <a:gd name="adj" fmla="val 4167"/>
            </a:avLst>
          </a:prstGeom>
          <a:solidFill>
            <a:schemeClr val="bg1"/>
          </a:solidFill>
          <a:ln>
            <a:noFill/>
          </a:ln>
          <a:effectLst>
            <a:outerShdw blurRad="228600" dist="63500" dir="2700000" algn="tl" rotWithShape="0">
              <a:prstClr val="black">
                <a:alpha val="1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base" latinLnBrk="0" hangingPunct="1">
              <a:lnSpc>
                <a:spcPct val="100000"/>
              </a:lnSpc>
              <a:spcBef>
                <a:spcPct val="0"/>
              </a:spcBef>
              <a:spcAft>
                <a:spcPts val="1200"/>
              </a:spcAft>
              <a:buClrTx/>
              <a:buSzTx/>
              <a:buFontTx/>
              <a:buNone/>
              <a:tabLst>
                <a:tab pos="457200" algn="l"/>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9" name="Rectangle: Rounded Corners 50">
            <a:extLst>
              <a:ext uri="{FF2B5EF4-FFF2-40B4-BE49-F238E27FC236}">
                <a16:creationId xmlns:a16="http://schemas.microsoft.com/office/drawing/2014/main" id="{B0D07D96-B276-F0D3-492F-914180B779CD}"/>
              </a:ext>
              <a:ext uri="{C183D7F6-B498-43B3-948B-1728B52AA6E4}">
                <adec:decorative xmlns:adec="http://schemas.microsoft.com/office/drawing/2017/decorative" val="1"/>
              </a:ext>
            </a:extLst>
          </p:cNvPr>
          <p:cNvSpPr>
            <a:spLocks/>
          </p:cNvSpPr>
          <p:nvPr/>
        </p:nvSpPr>
        <p:spPr bwMode="auto">
          <a:xfrm>
            <a:off x="512756" y="4897120"/>
            <a:ext cx="11185072" cy="1385292"/>
          </a:xfrm>
          <a:prstGeom prst="roundRect">
            <a:avLst>
              <a:gd name="adj" fmla="val 10989"/>
            </a:avLst>
          </a:prstGeom>
          <a:solidFill>
            <a:schemeClr val="bg1"/>
          </a:solidFill>
          <a:ln>
            <a:noFill/>
          </a:ln>
          <a:effectLst>
            <a:outerShdw blurRad="228600" dist="63500" dir="2700000" algn="tl" rotWithShape="0">
              <a:prstClr val="black">
                <a:alpha val="1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base" latinLnBrk="0" hangingPunct="1">
              <a:lnSpc>
                <a:spcPct val="100000"/>
              </a:lnSpc>
              <a:spcBef>
                <a:spcPct val="0"/>
              </a:spcBef>
              <a:spcAft>
                <a:spcPts val="1200"/>
              </a:spcAft>
              <a:buClrTx/>
              <a:buSzTx/>
              <a:buFontTx/>
              <a:buNone/>
              <a:tabLst>
                <a:tab pos="457200" algn="l"/>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0" name="Title 9">
            <a:extLst>
              <a:ext uri="{FF2B5EF4-FFF2-40B4-BE49-F238E27FC236}">
                <a16:creationId xmlns:a16="http://schemas.microsoft.com/office/drawing/2014/main" id="{E16E48B2-F0A9-EF35-0DF7-2DF2105DFEE8}"/>
              </a:ext>
            </a:extLst>
          </p:cNvPr>
          <p:cNvSpPr>
            <a:spLocks noGrp="1"/>
          </p:cNvSpPr>
          <p:nvPr>
            <p:ph type="title"/>
          </p:nvPr>
        </p:nvSpPr>
        <p:spPr>
          <a:xfrm>
            <a:off x="511628" y="574386"/>
            <a:ext cx="11185072" cy="498598"/>
          </a:xfrm>
        </p:spPr>
        <p:txBody>
          <a:bodyPr/>
          <a:lstStyle/>
          <a:p>
            <a:r>
              <a:rPr lang="en-US" dirty="0"/>
              <a:t>Event recommendations </a:t>
            </a:r>
            <a:endParaRPr lang="en-GB" dirty="0"/>
          </a:p>
        </p:txBody>
      </p:sp>
      <p:sp>
        <p:nvSpPr>
          <p:cNvPr id="7" name="TextBox 6">
            <a:extLst>
              <a:ext uri="{FF2B5EF4-FFF2-40B4-BE49-F238E27FC236}">
                <a16:creationId xmlns:a16="http://schemas.microsoft.com/office/drawing/2014/main" id="{74659594-3028-BA35-FB94-C85B14D34E89}"/>
              </a:ext>
            </a:extLst>
          </p:cNvPr>
          <p:cNvSpPr txBox="1"/>
          <p:nvPr/>
        </p:nvSpPr>
        <p:spPr>
          <a:xfrm>
            <a:off x="686345" y="1619568"/>
            <a:ext cx="10819310" cy="457200"/>
          </a:xfrm>
          <a:prstGeom prst="roundRect">
            <a:avLst>
              <a:gd name="adj" fmla="val 50000"/>
            </a:avLst>
          </a:prstGeom>
          <a:gradFill flip="none" rotWithShape="1">
            <a:gsLst>
              <a:gs pos="0">
                <a:srgbClr val="0078D4"/>
              </a:gs>
              <a:gs pos="100000">
                <a:srgbClr val="C53FCC"/>
              </a:gs>
            </a:gsLst>
            <a:lin ang="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lIns="182880" tIns="137160" rIns="182880" bIns="137160" rtlCol="0" anchor="ctr"/>
          <a:lstStyle>
            <a:defPPr>
              <a:defRPr lang="en-US"/>
            </a:defPPr>
            <a:lvl1pPr marR="0" lvl="0" indent="0" fontAlgn="auto">
              <a:lnSpc>
                <a:spcPct val="100000"/>
              </a:lnSpc>
              <a:spcBef>
                <a:spcPts val="0"/>
              </a:spcBef>
              <a:spcAft>
                <a:spcPts val="0"/>
              </a:spcAft>
              <a:buClrTx/>
              <a:buSzTx/>
              <a:buFontTx/>
              <a:buNone/>
              <a:tabLst/>
              <a:defRPr kumimoji="0" sz="2000" b="0" i="0" u="none" strike="noStrike" cap="none" spc="0" normalizeH="0" baseline="0">
                <a:ln>
                  <a:noFill/>
                </a:ln>
                <a:solidFill>
                  <a:schemeClr val="bg1"/>
                </a:solidFill>
                <a:effectLst/>
                <a:uLnTx/>
                <a:uFillTx/>
                <a:latin typeface="+mj-lt"/>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Segoe UI Semibold"/>
                <a:ea typeface="+mn-ea"/>
                <a:cs typeface="+mn-cs"/>
              </a:rPr>
              <a:t>On-the-day event recommendations</a:t>
            </a:r>
          </a:p>
        </p:txBody>
      </p:sp>
      <p:sp>
        <p:nvSpPr>
          <p:cNvPr id="16" name="TextBox 7, chunk 1, chunk 1">
            <a:extLst>
              <a:ext uri="{FF2B5EF4-FFF2-40B4-BE49-F238E27FC236}">
                <a16:creationId xmlns:a16="http://schemas.microsoft.com/office/drawing/2014/main" id="{9EAA7E37-6FC5-AECC-0779-617A3C12D49B}"/>
              </a:ext>
            </a:extLst>
          </p:cNvPr>
          <p:cNvSpPr txBox="1"/>
          <p:nvPr/>
        </p:nvSpPr>
        <p:spPr>
          <a:xfrm>
            <a:off x="840264" y="2149535"/>
            <a:ext cx="10856436" cy="2523768"/>
          </a:xfrm>
          <a:prstGeom prst="rect">
            <a:avLst/>
          </a:prstGeom>
          <a:noFill/>
        </p:spPr>
        <p:txBody>
          <a:bodyPr wrap="square" lIns="0" tIns="0" rIns="0" bIns="0" numCol="1" rtlCol="0" anchor="t">
            <a:spAutoFit/>
          </a:bodyPr>
          <a:lstStyle>
            <a:defPPr>
              <a:defRPr lang="en-US"/>
            </a:defPPr>
            <a:lvl1pPr marR="0" lvl="0" indent="0" fontAlgn="auto">
              <a:lnSpc>
                <a:spcPct val="100000"/>
              </a:lnSpc>
              <a:spcBef>
                <a:spcPts val="0"/>
              </a:spcBef>
              <a:spcAft>
                <a:spcPts val="0"/>
              </a:spcAft>
              <a:buClrTx/>
              <a:buSzTx/>
              <a:buFontTx/>
              <a:buNone/>
              <a:tabLst/>
              <a:defRPr kumimoji="0" sz="2000" b="0" i="0" u="none" strike="noStrike" kern="0" cap="none" spc="0" normalizeH="0" baseline="0">
                <a:ln>
                  <a:noFill/>
                </a:ln>
                <a:solidFill>
                  <a:prstClr val="black"/>
                </a:solidFill>
                <a:effectLst/>
                <a:uLnTx/>
                <a:uFillTx/>
                <a:latin typeface="Segoe UI"/>
              </a:defRPr>
            </a:lvl1pPr>
          </a:lstStyle>
          <a:p>
            <a:pPr marL="198120" marR="0" lvl="0" indent="-19812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600" b="0" i="0" u="none" strike="noStrike" kern="0" cap="none" spc="0" normalizeH="0" baseline="0" noProof="0" dirty="0">
                <a:ln>
                  <a:noFill/>
                </a:ln>
                <a:effectLst/>
                <a:uLnTx/>
                <a:uFillTx/>
                <a:latin typeface="Segoe UI"/>
                <a:ea typeface="+mn-ea"/>
                <a:cs typeface="+mn-cs"/>
              </a:rPr>
              <a:t>For the Hackathon, you’ll need to share the Prompt Guide with all the attendees. The best practice is to put it in a Public One-Drive folder and provide a link to it. If participants are restricted from accessing content outside their organization – It’s best that you have printed handouts ready.</a:t>
            </a:r>
            <a:endParaRPr lang="en-US" sz="1600" dirty="0">
              <a:ea typeface="+mn-ea"/>
              <a:cs typeface="+mn-cs"/>
            </a:endParaRPr>
          </a:p>
          <a:p>
            <a:pPr marL="198120" indent="-198120">
              <a:spcAft>
                <a:spcPts val="600"/>
              </a:spcAft>
              <a:buFont typeface="Arial" panose="020B0604020202020204" pitchFamily="34" charset="0"/>
              <a:buChar char="•"/>
              <a:defRPr/>
            </a:pPr>
            <a:r>
              <a:rPr kumimoji="0" lang="en-US" sz="1600" b="0" i="0" u="none" strike="noStrike" kern="0" cap="none" spc="0" normalizeH="0" baseline="0" noProof="0" dirty="0">
                <a:ln>
                  <a:noFill/>
                </a:ln>
                <a:effectLst/>
                <a:uLnTx/>
                <a:uFillTx/>
                <a:latin typeface="Segoe UI"/>
                <a:ea typeface="+mn-ea"/>
                <a:cs typeface="+mn-cs"/>
              </a:rPr>
              <a:t>Some</a:t>
            </a:r>
            <a:r>
              <a:rPr lang="en-US" sz="1600" dirty="0"/>
              <a:t> </a:t>
            </a:r>
            <a:r>
              <a:rPr kumimoji="0" lang="en-US" sz="1600" b="0" i="0" u="none" strike="noStrike" kern="0" cap="none" spc="0" normalizeH="0" baseline="0" noProof="0" dirty="0">
                <a:ln>
                  <a:noFill/>
                </a:ln>
                <a:effectLst/>
                <a:uLnTx/>
                <a:uFillTx/>
                <a:latin typeface="Segoe UI"/>
                <a:ea typeface="+mn-ea"/>
                <a:cs typeface="+mn-cs"/>
              </a:rPr>
              <a:t>groups may show up without a laptop – Consider having one of the floating technical SMEs sit with them throughout the hack session.</a:t>
            </a:r>
            <a:endParaRPr lang="en-US" sz="1600" b="0" i="0" u="none" strike="noStrike" kern="0" cap="none" spc="0" normalizeH="0" baseline="0" noProof="0" dirty="0">
              <a:ln>
                <a:noFill/>
              </a:ln>
              <a:effectLst/>
              <a:uLnTx/>
              <a:uFillTx/>
              <a:latin typeface="Segoe UI"/>
              <a:cs typeface="Segoe UI"/>
            </a:endParaRPr>
          </a:p>
          <a:p>
            <a:pPr marL="198120" marR="0" lvl="0" indent="-19812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600" b="0" i="0" u="none" strike="noStrike" kern="0" cap="none" spc="0" normalizeH="0" baseline="0" noProof="0" dirty="0">
                <a:ln>
                  <a:noFill/>
                </a:ln>
                <a:effectLst/>
                <a:uLnTx/>
                <a:uFillTx/>
                <a:latin typeface="Segoe UI"/>
                <a:ea typeface="+mn-ea"/>
                <a:cs typeface="+mn-cs"/>
              </a:rPr>
              <a:t>Some groups may not have the ability to create agents – The recommendation will be to use Copilot Chat as a substitute – They will still be able to ideate and fill out the template.</a:t>
            </a:r>
            <a:endParaRPr lang="en-US" sz="1600" b="0" i="0" u="none" strike="noStrike" kern="0" cap="none" spc="0" normalizeH="0" baseline="0" noProof="0" dirty="0">
              <a:ln>
                <a:noFill/>
              </a:ln>
              <a:effectLst/>
              <a:uLnTx/>
              <a:uFillTx/>
              <a:latin typeface="Segoe UI"/>
              <a:cs typeface="Segoe UI"/>
            </a:endParaRPr>
          </a:p>
          <a:p>
            <a:pPr marL="198120" marR="0" lvl="0" indent="-19812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600" b="0" i="0" u="none" strike="noStrike" kern="0" cap="none" spc="0" normalizeH="0" baseline="0" noProof="0" dirty="0">
                <a:ln>
                  <a:noFill/>
                </a:ln>
                <a:effectLst/>
                <a:uLnTx/>
                <a:uFillTx/>
                <a:latin typeface="Segoe UI"/>
                <a:ea typeface="+mn-ea"/>
                <a:cs typeface="+mn-cs"/>
              </a:rPr>
              <a:t>If </a:t>
            </a:r>
            <a:r>
              <a:rPr lang="en-US" sz="1600" dirty="0"/>
              <a:t>users</a:t>
            </a:r>
            <a:r>
              <a:rPr kumimoji="0" lang="en-US" sz="1600" b="0" i="0" u="none" strike="noStrike" kern="0" cap="none" spc="0" normalizeH="0" baseline="0" noProof="0" dirty="0">
                <a:ln>
                  <a:noFill/>
                </a:ln>
                <a:effectLst/>
                <a:uLnTx/>
                <a:uFillTx/>
                <a:latin typeface="Segoe UI"/>
                <a:ea typeface="+mn-ea"/>
                <a:cs typeface="+mn-cs"/>
              </a:rPr>
              <a:t> don’t have the ability to create videos – They may opt to present the template and a working agent prototype.</a:t>
            </a:r>
            <a:endParaRPr lang="en-US" sz="1600" b="0" i="0" u="none" strike="noStrike" kern="0" cap="none" spc="0" normalizeH="0" baseline="0" noProof="0" dirty="0">
              <a:ln>
                <a:noFill/>
              </a:ln>
              <a:effectLst/>
              <a:uLnTx/>
              <a:uFillTx/>
              <a:latin typeface="Segoe UI"/>
              <a:cs typeface="Segoe UI"/>
            </a:endParaRPr>
          </a:p>
          <a:p>
            <a:pPr marL="198120" marR="0" lvl="0" indent="-19812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600" b="0" i="0" u="none" strike="noStrike" kern="0" cap="none" spc="0" normalizeH="0" baseline="0" noProof="0" dirty="0">
                <a:ln>
                  <a:noFill/>
                </a:ln>
                <a:effectLst/>
                <a:uLnTx/>
                <a:uFillTx/>
                <a:latin typeface="Segoe UI"/>
                <a:ea typeface="+mn-ea"/>
                <a:cs typeface="+mn-cs"/>
              </a:rPr>
              <a:t>Run an event survey to get </a:t>
            </a:r>
            <a:r>
              <a:rPr lang="en-US" sz="1600" dirty="0"/>
              <a:t>user</a:t>
            </a:r>
            <a:r>
              <a:rPr kumimoji="0" lang="en-US" sz="1600" b="0" i="0" u="none" strike="noStrike" kern="0" cap="none" spc="0" normalizeH="0" baseline="0" noProof="0" dirty="0">
                <a:ln>
                  <a:noFill/>
                </a:ln>
                <a:effectLst/>
                <a:uLnTx/>
                <a:uFillTx/>
                <a:latin typeface="Segoe UI"/>
                <a:ea typeface="+mn-ea"/>
                <a:cs typeface="+mn-cs"/>
              </a:rPr>
              <a:t> feedback. (</a:t>
            </a:r>
            <a:r>
              <a:rPr kumimoji="0" lang="en-US" sz="1600" b="0" i="0" u="none" strike="noStrike" kern="0" cap="none" spc="0" normalizeH="0" baseline="0" noProof="0" dirty="0">
                <a:ln>
                  <a:noFill/>
                </a:ln>
                <a:effectLst/>
                <a:uLnTx/>
                <a:uFillTx/>
                <a:latin typeface="Segoe UI"/>
                <a:ea typeface="+mn-ea"/>
                <a:cs typeface="+mn-cs"/>
                <a:hlinkClick r:id="rId4">
                  <a:extLst>
                    <a:ext uri="{A12FA001-AC4F-418D-AE19-62706E023703}">
                      <ahyp:hlinkClr xmlns:ahyp="http://schemas.microsoft.com/office/drawing/2018/hyperlinkcolor" val="tx"/>
                    </a:ext>
                  </a:extLst>
                </a:hlinkClick>
              </a:rPr>
              <a:t>sample survey from a similar event</a:t>
            </a:r>
            <a:r>
              <a:rPr kumimoji="0" lang="en-US" sz="1600" b="0" i="0" u="none" strike="noStrike" kern="0" cap="none" spc="0" normalizeH="0" baseline="0" noProof="0" dirty="0">
                <a:ln>
                  <a:noFill/>
                </a:ln>
                <a:effectLst/>
                <a:uLnTx/>
                <a:uFillTx/>
                <a:latin typeface="Segoe UI"/>
                <a:ea typeface="+mn-ea"/>
                <a:cs typeface="+mn-cs"/>
              </a:rPr>
              <a:t>)</a:t>
            </a:r>
            <a:endParaRPr lang="en-US" sz="1600" b="0" i="0" u="none" strike="noStrike" kern="0" cap="none" spc="0" normalizeH="0" baseline="0" noProof="0" dirty="0">
              <a:ln>
                <a:noFill/>
              </a:ln>
              <a:effectLst/>
              <a:uLnTx/>
              <a:uFillTx/>
              <a:latin typeface="Segoe UI"/>
              <a:cs typeface="Segoe UI"/>
            </a:endParaRPr>
          </a:p>
        </p:txBody>
      </p:sp>
      <p:sp>
        <p:nvSpPr>
          <p:cNvPr id="21" name="TextBox 20">
            <a:extLst>
              <a:ext uri="{FF2B5EF4-FFF2-40B4-BE49-F238E27FC236}">
                <a16:creationId xmlns:a16="http://schemas.microsoft.com/office/drawing/2014/main" id="{05B96756-3562-2F95-6F33-F5809B0DB73A}"/>
              </a:ext>
            </a:extLst>
          </p:cNvPr>
          <p:cNvSpPr txBox="1"/>
          <p:nvPr/>
        </p:nvSpPr>
        <p:spPr>
          <a:xfrm>
            <a:off x="686345" y="5080000"/>
            <a:ext cx="10819310" cy="457200"/>
          </a:xfrm>
          <a:prstGeom prst="roundRect">
            <a:avLst>
              <a:gd name="adj" fmla="val 50000"/>
            </a:avLst>
          </a:prstGeom>
          <a:gradFill flip="none" rotWithShape="1">
            <a:gsLst>
              <a:gs pos="0">
                <a:srgbClr val="0078D4"/>
              </a:gs>
              <a:gs pos="100000">
                <a:srgbClr val="C53FCC"/>
              </a:gs>
            </a:gsLst>
            <a:lin ang="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lIns="182880" tIns="137160" rIns="182880" bIns="137160" rtlCol="0" anchor="ctr"/>
          <a:lstStyle>
            <a:defPPr>
              <a:defRPr lang="en-US"/>
            </a:defPPr>
            <a:lvl1pPr marR="0" lvl="0" indent="0" fontAlgn="auto">
              <a:lnSpc>
                <a:spcPct val="100000"/>
              </a:lnSpc>
              <a:spcBef>
                <a:spcPts val="0"/>
              </a:spcBef>
              <a:spcAft>
                <a:spcPts val="0"/>
              </a:spcAft>
              <a:buClrTx/>
              <a:buSzTx/>
              <a:buFontTx/>
              <a:buNone/>
              <a:tabLst/>
              <a:defRPr kumimoji="0" sz="2000" b="0" i="0" u="none" strike="noStrike" cap="none" spc="0" normalizeH="0" baseline="0">
                <a:ln>
                  <a:noFill/>
                </a:ln>
                <a:solidFill>
                  <a:schemeClr val="bg1"/>
                </a:solidFill>
                <a:effectLst/>
                <a:uLnTx/>
                <a:uFillTx/>
                <a:latin typeface="+mj-lt"/>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Segoe UI Semibold"/>
                <a:ea typeface="+mn-ea"/>
                <a:cs typeface="+mn-cs"/>
              </a:rPr>
              <a:t>Post event recommendations</a:t>
            </a:r>
          </a:p>
        </p:txBody>
      </p:sp>
      <p:sp>
        <p:nvSpPr>
          <p:cNvPr id="23" name="TextBox 7, chunk 1, chunk 1">
            <a:extLst>
              <a:ext uri="{FF2B5EF4-FFF2-40B4-BE49-F238E27FC236}">
                <a16:creationId xmlns:a16="http://schemas.microsoft.com/office/drawing/2014/main" id="{5B39DF65-EF61-2AA9-8370-0E218C365815}"/>
              </a:ext>
            </a:extLst>
          </p:cNvPr>
          <p:cNvSpPr txBox="1"/>
          <p:nvPr/>
        </p:nvSpPr>
        <p:spPr>
          <a:xfrm>
            <a:off x="840263" y="5613180"/>
            <a:ext cx="10511474" cy="246221"/>
          </a:xfrm>
          <a:prstGeom prst="rect">
            <a:avLst/>
          </a:prstGeom>
          <a:noFill/>
        </p:spPr>
        <p:txBody>
          <a:bodyPr wrap="square" lIns="0" tIns="0" rIns="0" bIns="0" numCol="1" rtlCol="0" anchor="t">
            <a:spAutoFit/>
          </a:bodyPr>
          <a:lstStyle>
            <a:defPPr>
              <a:defRPr lang="en-US"/>
            </a:defPPr>
            <a:lvl1pPr marR="0" lvl="0" indent="0" fontAlgn="auto">
              <a:lnSpc>
                <a:spcPct val="100000"/>
              </a:lnSpc>
              <a:spcBef>
                <a:spcPts val="0"/>
              </a:spcBef>
              <a:spcAft>
                <a:spcPts val="0"/>
              </a:spcAft>
              <a:buClrTx/>
              <a:buSzTx/>
              <a:buFontTx/>
              <a:buNone/>
              <a:tabLst/>
              <a:defRPr kumimoji="0" sz="2000" b="0" i="0" u="none" strike="noStrike" kern="0" cap="none" spc="0" normalizeH="0" baseline="0">
                <a:ln>
                  <a:noFill/>
                </a:ln>
                <a:solidFill>
                  <a:prstClr val="black"/>
                </a:solidFill>
                <a:effectLst/>
                <a:uLnTx/>
                <a:uFillTx/>
                <a:latin typeface="Segoe UI"/>
              </a:defRPr>
            </a:lvl1pPr>
          </a:lstStyle>
          <a:p>
            <a:pPr marL="198120" indent="-198120">
              <a:spcAft>
                <a:spcPts val="1000"/>
              </a:spcAft>
              <a:buFont typeface="Arial" panose="020B0604020202020204" pitchFamily="34" charset="0"/>
              <a:buChar char="•"/>
              <a:defRPr/>
            </a:pPr>
            <a:r>
              <a:rPr lang="en-US" sz="1600" dirty="0"/>
              <a:t>Position any added trainings that your organization offers for Copilot.</a:t>
            </a:r>
            <a:endParaRPr kumimoji="0" lang="en-US" sz="1600" b="0" i="0" u="none" strike="noStrike" kern="0" cap="none" spc="0" normalizeH="0" baseline="0" noProof="0" dirty="0">
              <a:ln>
                <a:noFill/>
              </a:ln>
              <a:solidFill>
                <a:prstClr val="black"/>
              </a:solidFill>
              <a:effectLst/>
              <a:uLnTx/>
              <a:uFillTx/>
              <a:latin typeface="Segoe UI"/>
              <a:ea typeface="+mn-ea"/>
              <a:cs typeface="+mn-cs"/>
            </a:endParaRPr>
          </a:p>
        </p:txBody>
      </p:sp>
      <p:grpSp>
        <p:nvGrpSpPr>
          <p:cNvPr id="37" name="Group 36">
            <a:extLst>
              <a:ext uri="{FF2B5EF4-FFF2-40B4-BE49-F238E27FC236}">
                <a16:creationId xmlns:a16="http://schemas.microsoft.com/office/drawing/2014/main" id="{C284EA38-FA52-F5B0-E08B-AC7C1B82B3CD}"/>
              </a:ext>
              <a:ext uri="{C183D7F6-B498-43B3-948B-1728B52AA6E4}">
                <adec:decorative xmlns:adec="http://schemas.microsoft.com/office/drawing/2017/decorative" val="1"/>
              </a:ext>
            </a:extLst>
          </p:cNvPr>
          <p:cNvGrpSpPr/>
          <p:nvPr/>
        </p:nvGrpSpPr>
        <p:grpSpPr>
          <a:xfrm>
            <a:off x="11098527" y="1670209"/>
            <a:ext cx="355918" cy="355918"/>
            <a:chOff x="11098527" y="1670209"/>
            <a:chExt cx="355918" cy="355918"/>
          </a:xfrm>
        </p:grpSpPr>
        <p:sp>
          <p:nvSpPr>
            <p:cNvPr id="11" name="Oval 10">
              <a:extLst>
                <a:ext uri="{FF2B5EF4-FFF2-40B4-BE49-F238E27FC236}">
                  <a16:creationId xmlns:a16="http://schemas.microsoft.com/office/drawing/2014/main" id="{E37B3CA8-8CAD-A258-DE07-7DBDB369F333}"/>
                </a:ext>
              </a:extLst>
            </p:cNvPr>
            <p:cNvSpPr/>
            <p:nvPr/>
          </p:nvSpPr>
          <p:spPr>
            <a:xfrm>
              <a:off x="11098527" y="1670209"/>
              <a:ext cx="355918" cy="355918"/>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7" name="Graphic 8" descr="Icon of a checklist">
              <a:extLst>
                <a:ext uri="{FF2B5EF4-FFF2-40B4-BE49-F238E27FC236}">
                  <a16:creationId xmlns:a16="http://schemas.microsoft.com/office/drawing/2014/main" id="{E2B995DE-BF65-2581-8940-19F729E57165}"/>
                </a:ext>
              </a:extLst>
            </p:cNvPr>
            <p:cNvSpPr>
              <a:spLocks noChangeAspect="1"/>
            </p:cNvSpPr>
            <p:nvPr/>
          </p:nvSpPr>
          <p:spPr>
            <a:xfrm>
              <a:off x="11171060" y="1742758"/>
              <a:ext cx="210854" cy="210820"/>
            </a:xfrm>
            <a:custGeom>
              <a:avLst/>
              <a:gdLst>
                <a:gd name="connsiteX0" fmla="*/ 57292 w 269782"/>
                <a:gd name="connsiteY0" fmla="*/ 188849 h 269743"/>
                <a:gd name="connsiteX1" fmla="*/ 80894 w 269782"/>
                <a:gd name="connsiteY1" fmla="*/ 212451 h 269743"/>
                <a:gd name="connsiteX2" fmla="*/ 80894 w 269782"/>
                <a:gd name="connsiteY2" fmla="*/ 246141 h 269743"/>
                <a:gd name="connsiteX3" fmla="*/ 57292 w 269782"/>
                <a:gd name="connsiteY3" fmla="*/ 269743 h 269743"/>
                <a:gd name="connsiteX4" fmla="*/ 23603 w 269782"/>
                <a:gd name="connsiteY4" fmla="*/ 269743 h 269743"/>
                <a:gd name="connsiteX5" fmla="*/ 0 w 269782"/>
                <a:gd name="connsiteY5" fmla="*/ 246141 h 269743"/>
                <a:gd name="connsiteX6" fmla="*/ 0 w 269782"/>
                <a:gd name="connsiteY6" fmla="*/ 212451 h 269743"/>
                <a:gd name="connsiteX7" fmla="*/ 23603 w 269782"/>
                <a:gd name="connsiteY7" fmla="*/ 188849 h 269743"/>
                <a:gd name="connsiteX8" fmla="*/ 57292 w 269782"/>
                <a:gd name="connsiteY8" fmla="*/ 188849 h 269743"/>
                <a:gd name="connsiteX9" fmla="*/ 57292 w 269782"/>
                <a:gd name="connsiteY9" fmla="*/ 209079 h 269743"/>
                <a:gd name="connsiteX10" fmla="*/ 23603 w 269782"/>
                <a:gd name="connsiteY10" fmla="*/ 209079 h 269743"/>
                <a:gd name="connsiteX11" fmla="*/ 20231 w 269782"/>
                <a:gd name="connsiteY11" fmla="*/ 212451 h 269743"/>
                <a:gd name="connsiteX12" fmla="*/ 20231 w 269782"/>
                <a:gd name="connsiteY12" fmla="*/ 246141 h 269743"/>
                <a:gd name="connsiteX13" fmla="*/ 23603 w 269782"/>
                <a:gd name="connsiteY13" fmla="*/ 249513 h 269743"/>
                <a:gd name="connsiteX14" fmla="*/ 57292 w 269782"/>
                <a:gd name="connsiteY14" fmla="*/ 249513 h 269743"/>
                <a:gd name="connsiteX15" fmla="*/ 60664 w 269782"/>
                <a:gd name="connsiteY15" fmla="*/ 246141 h 269743"/>
                <a:gd name="connsiteX16" fmla="*/ 60664 w 269782"/>
                <a:gd name="connsiteY16" fmla="*/ 212451 h 269743"/>
                <a:gd name="connsiteX17" fmla="*/ 57292 w 269782"/>
                <a:gd name="connsiteY17" fmla="*/ 209079 h 269743"/>
                <a:gd name="connsiteX18" fmla="*/ 104500 w 269782"/>
                <a:gd name="connsiteY18" fmla="*/ 215795 h 269743"/>
                <a:gd name="connsiteX19" fmla="*/ 259667 w 269782"/>
                <a:gd name="connsiteY19" fmla="*/ 215795 h 269743"/>
                <a:gd name="connsiteX20" fmla="*/ 269782 w 269782"/>
                <a:gd name="connsiteY20" fmla="*/ 225910 h 269743"/>
                <a:gd name="connsiteX21" fmla="*/ 261040 w 269782"/>
                <a:gd name="connsiteY21" fmla="*/ 235934 h 269743"/>
                <a:gd name="connsiteX22" fmla="*/ 259667 w 269782"/>
                <a:gd name="connsiteY22" fmla="*/ 236025 h 269743"/>
                <a:gd name="connsiteX23" fmla="*/ 104500 w 269782"/>
                <a:gd name="connsiteY23" fmla="*/ 236025 h 269743"/>
                <a:gd name="connsiteX24" fmla="*/ 94384 w 269782"/>
                <a:gd name="connsiteY24" fmla="*/ 225910 h 269743"/>
                <a:gd name="connsiteX25" fmla="*/ 103127 w 269782"/>
                <a:gd name="connsiteY25" fmla="*/ 215886 h 269743"/>
                <a:gd name="connsiteX26" fmla="*/ 104500 w 269782"/>
                <a:gd name="connsiteY26" fmla="*/ 215795 h 269743"/>
                <a:gd name="connsiteX27" fmla="*/ 259667 w 269782"/>
                <a:gd name="connsiteY27" fmla="*/ 215795 h 269743"/>
                <a:gd name="connsiteX28" fmla="*/ 104500 w 269782"/>
                <a:gd name="connsiteY28" fmla="*/ 215795 h 269743"/>
                <a:gd name="connsiteX29" fmla="*/ 57292 w 269782"/>
                <a:gd name="connsiteY29" fmla="*/ 94424 h 269743"/>
                <a:gd name="connsiteX30" fmla="*/ 80894 w 269782"/>
                <a:gd name="connsiteY30" fmla="*/ 118028 h 269743"/>
                <a:gd name="connsiteX31" fmla="*/ 80894 w 269782"/>
                <a:gd name="connsiteY31" fmla="*/ 151716 h 269743"/>
                <a:gd name="connsiteX32" fmla="*/ 57292 w 269782"/>
                <a:gd name="connsiteY32" fmla="*/ 175318 h 269743"/>
                <a:gd name="connsiteX33" fmla="*/ 23603 w 269782"/>
                <a:gd name="connsiteY33" fmla="*/ 175318 h 269743"/>
                <a:gd name="connsiteX34" fmla="*/ 0 w 269782"/>
                <a:gd name="connsiteY34" fmla="*/ 151716 h 269743"/>
                <a:gd name="connsiteX35" fmla="*/ 0 w 269782"/>
                <a:gd name="connsiteY35" fmla="*/ 118028 h 269743"/>
                <a:gd name="connsiteX36" fmla="*/ 23603 w 269782"/>
                <a:gd name="connsiteY36" fmla="*/ 94424 h 269743"/>
                <a:gd name="connsiteX37" fmla="*/ 57292 w 269782"/>
                <a:gd name="connsiteY37" fmla="*/ 94424 h 269743"/>
                <a:gd name="connsiteX38" fmla="*/ 57292 w 269782"/>
                <a:gd name="connsiteY38" fmla="*/ 114656 h 269743"/>
                <a:gd name="connsiteX39" fmla="*/ 23603 w 269782"/>
                <a:gd name="connsiteY39" fmla="*/ 114656 h 269743"/>
                <a:gd name="connsiteX40" fmla="*/ 20231 w 269782"/>
                <a:gd name="connsiteY40" fmla="*/ 118028 h 269743"/>
                <a:gd name="connsiteX41" fmla="*/ 20231 w 269782"/>
                <a:gd name="connsiteY41" fmla="*/ 151716 h 269743"/>
                <a:gd name="connsiteX42" fmla="*/ 23603 w 269782"/>
                <a:gd name="connsiteY42" fmla="*/ 155088 h 269743"/>
                <a:gd name="connsiteX43" fmla="*/ 57292 w 269782"/>
                <a:gd name="connsiteY43" fmla="*/ 155088 h 269743"/>
                <a:gd name="connsiteX44" fmla="*/ 60664 w 269782"/>
                <a:gd name="connsiteY44" fmla="*/ 151716 h 269743"/>
                <a:gd name="connsiteX45" fmla="*/ 60664 w 269782"/>
                <a:gd name="connsiteY45" fmla="*/ 118028 h 269743"/>
                <a:gd name="connsiteX46" fmla="*/ 57292 w 269782"/>
                <a:gd name="connsiteY46" fmla="*/ 114656 h 269743"/>
                <a:gd name="connsiteX47" fmla="*/ 104500 w 269782"/>
                <a:gd name="connsiteY47" fmla="*/ 121385 h 269743"/>
                <a:gd name="connsiteX48" fmla="*/ 259667 w 269782"/>
                <a:gd name="connsiteY48" fmla="*/ 121385 h 269743"/>
                <a:gd name="connsiteX49" fmla="*/ 269782 w 269782"/>
                <a:gd name="connsiteY49" fmla="*/ 131500 h 269743"/>
                <a:gd name="connsiteX50" fmla="*/ 261040 w 269782"/>
                <a:gd name="connsiteY50" fmla="*/ 141524 h 269743"/>
                <a:gd name="connsiteX51" fmla="*/ 259667 w 269782"/>
                <a:gd name="connsiteY51" fmla="*/ 141615 h 269743"/>
                <a:gd name="connsiteX52" fmla="*/ 104500 w 269782"/>
                <a:gd name="connsiteY52" fmla="*/ 141615 h 269743"/>
                <a:gd name="connsiteX53" fmla="*/ 94384 w 269782"/>
                <a:gd name="connsiteY53" fmla="*/ 131500 h 269743"/>
                <a:gd name="connsiteX54" fmla="*/ 103127 w 269782"/>
                <a:gd name="connsiteY54" fmla="*/ 121476 h 269743"/>
                <a:gd name="connsiteX55" fmla="*/ 104500 w 269782"/>
                <a:gd name="connsiteY55" fmla="*/ 121385 h 269743"/>
                <a:gd name="connsiteX56" fmla="*/ 259667 w 269782"/>
                <a:gd name="connsiteY56" fmla="*/ 121385 h 269743"/>
                <a:gd name="connsiteX57" fmla="*/ 104500 w 269782"/>
                <a:gd name="connsiteY57" fmla="*/ 121385 h 269743"/>
                <a:gd name="connsiteX58" fmla="*/ 57292 w 269782"/>
                <a:gd name="connsiteY58" fmla="*/ 0 h 269743"/>
                <a:gd name="connsiteX59" fmla="*/ 80894 w 269782"/>
                <a:gd name="connsiteY59" fmla="*/ 23603 h 269743"/>
                <a:gd name="connsiteX60" fmla="*/ 80894 w 269782"/>
                <a:gd name="connsiteY60" fmla="*/ 57292 h 269743"/>
                <a:gd name="connsiteX61" fmla="*/ 57292 w 269782"/>
                <a:gd name="connsiteY61" fmla="*/ 80894 h 269743"/>
                <a:gd name="connsiteX62" fmla="*/ 23603 w 269782"/>
                <a:gd name="connsiteY62" fmla="*/ 80894 h 269743"/>
                <a:gd name="connsiteX63" fmla="*/ 0 w 269782"/>
                <a:gd name="connsiteY63" fmla="*/ 57292 h 269743"/>
                <a:gd name="connsiteX64" fmla="*/ 0 w 269782"/>
                <a:gd name="connsiteY64" fmla="*/ 23603 h 269743"/>
                <a:gd name="connsiteX65" fmla="*/ 23603 w 269782"/>
                <a:gd name="connsiteY65" fmla="*/ 0 h 269743"/>
                <a:gd name="connsiteX66" fmla="*/ 57292 w 269782"/>
                <a:gd name="connsiteY66" fmla="*/ 0 h 269743"/>
                <a:gd name="connsiteX67" fmla="*/ 57292 w 269782"/>
                <a:gd name="connsiteY67" fmla="*/ 20231 h 269743"/>
                <a:gd name="connsiteX68" fmla="*/ 23603 w 269782"/>
                <a:gd name="connsiteY68" fmla="*/ 20231 h 269743"/>
                <a:gd name="connsiteX69" fmla="*/ 20231 w 269782"/>
                <a:gd name="connsiteY69" fmla="*/ 23603 h 269743"/>
                <a:gd name="connsiteX70" fmla="*/ 20231 w 269782"/>
                <a:gd name="connsiteY70" fmla="*/ 57292 h 269743"/>
                <a:gd name="connsiteX71" fmla="*/ 23603 w 269782"/>
                <a:gd name="connsiteY71" fmla="*/ 60664 h 269743"/>
                <a:gd name="connsiteX72" fmla="*/ 57292 w 269782"/>
                <a:gd name="connsiteY72" fmla="*/ 60664 h 269743"/>
                <a:gd name="connsiteX73" fmla="*/ 60664 w 269782"/>
                <a:gd name="connsiteY73" fmla="*/ 57292 h 269743"/>
                <a:gd name="connsiteX74" fmla="*/ 60664 w 269782"/>
                <a:gd name="connsiteY74" fmla="*/ 23603 h 269743"/>
                <a:gd name="connsiteX75" fmla="*/ 57292 w 269782"/>
                <a:gd name="connsiteY75" fmla="*/ 20231 h 269743"/>
                <a:gd name="connsiteX76" fmla="*/ 104500 w 269782"/>
                <a:gd name="connsiteY76" fmla="*/ 26974 h 269743"/>
                <a:gd name="connsiteX77" fmla="*/ 259667 w 269782"/>
                <a:gd name="connsiteY77" fmla="*/ 26974 h 269743"/>
                <a:gd name="connsiteX78" fmla="*/ 269782 w 269782"/>
                <a:gd name="connsiteY78" fmla="*/ 37090 h 269743"/>
                <a:gd name="connsiteX79" fmla="*/ 261040 w 269782"/>
                <a:gd name="connsiteY79" fmla="*/ 47113 h 269743"/>
                <a:gd name="connsiteX80" fmla="*/ 259667 w 269782"/>
                <a:gd name="connsiteY80" fmla="*/ 47205 h 269743"/>
                <a:gd name="connsiteX81" fmla="*/ 104500 w 269782"/>
                <a:gd name="connsiteY81" fmla="*/ 47205 h 269743"/>
                <a:gd name="connsiteX82" fmla="*/ 94384 w 269782"/>
                <a:gd name="connsiteY82" fmla="*/ 37090 h 269743"/>
                <a:gd name="connsiteX83" fmla="*/ 103127 w 269782"/>
                <a:gd name="connsiteY83" fmla="*/ 27067 h 269743"/>
                <a:gd name="connsiteX84" fmla="*/ 104500 w 269782"/>
                <a:gd name="connsiteY84" fmla="*/ 26974 h 269743"/>
                <a:gd name="connsiteX85" fmla="*/ 259667 w 269782"/>
                <a:gd name="connsiteY85" fmla="*/ 26974 h 269743"/>
                <a:gd name="connsiteX86" fmla="*/ 104500 w 269782"/>
                <a:gd name="connsiteY86" fmla="*/ 26974 h 2697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269782" h="269743">
                  <a:moveTo>
                    <a:pt x="57292" y="188849"/>
                  </a:moveTo>
                  <a:cubicBezTo>
                    <a:pt x="70327" y="188849"/>
                    <a:pt x="80894" y="199416"/>
                    <a:pt x="80894" y="212451"/>
                  </a:cubicBezTo>
                  <a:lnTo>
                    <a:pt x="80894" y="246141"/>
                  </a:lnTo>
                  <a:cubicBezTo>
                    <a:pt x="80894" y="259176"/>
                    <a:pt x="70327" y="269743"/>
                    <a:pt x="57292" y="269743"/>
                  </a:cubicBezTo>
                  <a:lnTo>
                    <a:pt x="23603" y="269743"/>
                  </a:lnTo>
                  <a:cubicBezTo>
                    <a:pt x="10567" y="269743"/>
                    <a:pt x="0" y="259176"/>
                    <a:pt x="0" y="246141"/>
                  </a:cubicBezTo>
                  <a:lnTo>
                    <a:pt x="0" y="212451"/>
                  </a:lnTo>
                  <a:cubicBezTo>
                    <a:pt x="0" y="199416"/>
                    <a:pt x="10567" y="188849"/>
                    <a:pt x="23603" y="188849"/>
                  </a:cubicBezTo>
                  <a:lnTo>
                    <a:pt x="57292" y="188849"/>
                  </a:lnTo>
                  <a:close/>
                  <a:moveTo>
                    <a:pt x="57292" y="209079"/>
                  </a:moveTo>
                  <a:lnTo>
                    <a:pt x="23603" y="209079"/>
                  </a:lnTo>
                  <a:cubicBezTo>
                    <a:pt x="21740" y="209079"/>
                    <a:pt x="20231" y="210590"/>
                    <a:pt x="20231" y="212451"/>
                  </a:cubicBezTo>
                  <a:lnTo>
                    <a:pt x="20231" y="246141"/>
                  </a:lnTo>
                  <a:cubicBezTo>
                    <a:pt x="20231" y="248003"/>
                    <a:pt x="21740" y="249513"/>
                    <a:pt x="23603" y="249513"/>
                  </a:cubicBezTo>
                  <a:lnTo>
                    <a:pt x="57292" y="249513"/>
                  </a:lnTo>
                  <a:cubicBezTo>
                    <a:pt x="59154" y="249513"/>
                    <a:pt x="60664" y="248003"/>
                    <a:pt x="60664" y="246141"/>
                  </a:cubicBezTo>
                  <a:lnTo>
                    <a:pt x="60664" y="212451"/>
                  </a:lnTo>
                  <a:cubicBezTo>
                    <a:pt x="60664" y="210590"/>
                    <a:pt x="59154" y="209079"/>
                    <a:pt x="57292" y="209079"/>
                  </a:cubicBezTo>
                  <a:close/>
                  <a:moveTo>
                    <a:pt x="104500" y="215795"/>
                  </a:moveTo>
                  <a:lnTo>
                    <a:pt x="259667" y="215795"/>
                  </a:lnTo>
                  <a:cubicBezTo>
                    <a:pt x="265253" y="215795"/>
                    <a:pt x="269782" y="220324"/>
                    <a:pt x="269782" y="225910"/>
                  </a:cubicBezTo>
                  <a:cubicBezTo>
                    <a:pt x="269782" y="231031"/>
                    <a:pt x="265976" y="235263"/>
                    <a:pt x="261040" y="235934"/>
                  </a:cubicBezTo>
                  <a:lnTo>
                    <a:pt x="259667" y="236025"/>
                  </a:lnTo>
                  <a:lnTo>
                    <a:pt x="104500" y="236025"/>
                  </a:lnTo>
                  <a:cubicBezTo>
                    <a:pt x="98913" y="236025"/>
                    <a:pt x="94384" y="231496"/>
                    <a:pt x="94384" y="225910"/>
                  </a:cubicBezTo>
                  <a:cubicBezTo>
                    <a:pt x="94384" y="220789"/>
                    <a:pt x="98190" y="216557"/>
                    <a:pt x="103127" y="215886"/>
                  </a:cubicBezTo>
                  <a:lnTo>
                    <a:pt x="104500" y="215795"/>
                  </a:lnTo>
                  <a:lnTo>
                    <a:pt x="259667" y="215795"/>
                  </a:lnTo>
                  <a:lnTo>
                    <a:pt x="104500" y="215795"/>
                  </a:lnTo>
                  <a:close/>
                  <a:moveTo>
                    <a:pt x="57292" y="94424"/>
                  </a:moveTo>
                  <a:cubicBezTo>
                    <a:pt x="70327" y="94424"/>
                    <a:pt x="80894" y="104992"/>
                    <a:pt x="80894" y="118028"/>
                  </a:cubicBezTo>
                  <a:lnTo>
                    <a:pt x="80894" y="151716"/>
                  </a:lnTo>
                  <a:cubicBezTo>
                    <a:pt x="80894" y="164751"/>
                    <a:pt x="70327" y="175318"/>
                    <a:pt x="57292" y="175318"/>
                  </a:cubicBezTo>
                  <a:lnTo>
                    <a:pt x="23603" y="175318"/>
                  </a:lnTo>
                  <a:cubicBezTo>
                    <a:pt x="10567" y="175318"/>
                    <a:pt x="0" y="164751"/>
                    <a:pt x="0" y="151716"/>
                  </a:cubicBezTo>
                  <a:lnTo>
                    <a:pt x="0" y="118028"/>
                  </a:lnTo>
                  <a:cubicBezTo>
                    <a:pt x="0" y="104992"/>
                    <a:pt x="10567" y="94424"/>
                    <a:pt x="23603" y="94424"/>
                  </a:cubicBezTo>
                  <a:lnTo>
                    <a:pt x="57292" y="94424"/>
                  </a:lnTo>
                  <a:close/>
                  <a:moveTo>
                    <a:pt x="57292" y="114656"/>
                  </a:moveTo>
                  <a:lnTo>
                    <a:pt x="23603" y="114656"/>
                  </a:lnTo>
                  <a:cubicBezTo>
                    <a:pt x="21740" y="114656"/>
                    <a:pt x="20231" y="116165"/>
                    <a:pt x="20231" y="118028"/>
                  </a:cubicBezTo>
                  <a:lnTo>
                    <a:pt x="20231" y="151716"/>
                  </a:lnTo>
                  <a:cubicBezTo>
                    <a:pt x="20231" y="153578"/>
                    <a:pt x="21740" y="155088"/>
                    <a:pt x="23603" y="155088"/>
                  </a:cubicBezTo>
                  <a:lnTo>
                    <a:pt x="57292" y="155088"/>
                  </a:lnTo>
                  <a:cubicBezTo>
                    <a:pt x="59154" y="155088"/>
                    <a:pt x="60664" y="153578"/>
                    <a:pt x="60664" y="151716"/>
                  </a:cubicBezTo>
                  <a:lnTo>
                    <a:pt x="60664" y="118028"/>
                  </a:lnTo>
                  <a:cubicBezTo>
                    <a:pt x="60664" y="116165"/>
                    <a:pt x="59154" y="114656"/>
                    <a:pt x="57292" y="114656"/>
                  </a:cubicBezTo>
                  <a:close/>
                  <a:moveTo>
                    <a:pt x="104500" y="121385"/>
                  </a:moveTo>
                  <a:lnTo>
                    <a:pt x="259667" y="121385"/>
                  </a:lnTo>
                  <a:cubicBezTo>
                    <a:pt x="265253" y="121385"/>
                    <a:pt x="269782" y="125913"/>
                    <a:pt x="269782" y="131500"/>
                  </a:cubicBezTo>
                  <a:cubicBezTo>
                    <a:pt x="269782" y="136621"/>
                    <a:pt x="265976" y="140853"/>
                    <a:pt x="261040" y="141524"/>
                  </a:cubicBezTo>
                  <a:lnTo>
                    <a:pt x="259667" y="141615"/>
                  </a:lnTo>
                  <a:lnTo>
                    <a:pt x="104500" y="141615"/>
                  </a:lnTo>
                  <a:cubicBezTo>
                    <a:pt x="98913" y="141615"/>
                    <a:pt x="94384" y="137086"/>
                    <a:pt x="94384" y="131500"/>
                  </a:cubicBezTo>
                  <a:cubicBezTo>
                    <a:pt x="94384" y="126379"/>
                    <a:pt x="98190" y="122147"/>
                    <a:pt x="103127" y="121476"/>
                  </a:cubicBezTo>
                  <a:lnTo>
                    <a:pt x="104500" y="121385"/>
                  </a:lnTo>
                  <a:lnTo>
                    <a:pt x="259667" y="121385"/>
                  </a:lnTo>
                  <a:lnTo>
                    <a:pt x="104500" y="121385"/>
                  </a:lnTo>
                  <a:close/>
                  <a:moveTo>
                    <a:pt x="57292" y="0"/>
                  </a:moveTo>
                  <a:cubicBezTo>
                    <a:pt x="70327" y="0"/>
                    <a:pt x="80894" y="10567"/>
                    <a:pt x="80894" y="23603"/>
                  </a:cubicBezTo>
                  <a:lnTo>
                    <a:pt x="80894" y="57292"/>
                  </a:lnTo>
                  <a:cubicBezTo>
                    <a:pt x="80894" y="70327"/>
                    <a:pt x="70327" y="80894"/>
                    <a:pt x="57292" y="80894"/>
                  </a:cubicBezTo>
                  <a:lnTo>
                    <a:pt x="23603" y="80894"/>
                  </a:lnTo>
                  <a:cubicBezTo>
                    <a:pt x="10567" y="80894"/>
                    <a:pt x="0" y="70327"/>
                    <a:pt x="0" y="57292"/>
                  </a:cubicBezTo>
                  <a:lnTo>
                    <a:pt x="0" y="23603"/>
                  </a:lnTo>
                  <a:cubicBezTo>
                    <a:pt x="0" y="10567"/>
                    <a:pt x="10567" y="0"/>
                    <a:pt x="23603" y="0"/>
                  </a:cubicBezTo>
                  <a:lnTo>
                    <a:pt x="57292" y="0"/>
                  </a:lnTo>
                  <a:close/>
                  <a:moveTo>
                    <a:pt x="57292" y="20231"/>
                  </a:moveTo>
                  <a:lnTo>
                    <a:pt x="23603" y="20231"/>
                  </a:lnTo>
                  <a:cubicBezTo>
                    <a:pt x="21740" y="20231"/>
                    <a:pt x="20231" y="21740"/>
                    <a:pt x="20231" y="23603"/>
                  </a:cubicBezTo>
                  <a:lnTo>
                    <a:pt x="20231" y="57292"/>
                  </a:lnTo>
                  <a:cubicBezTo>
                    <a:pt x="20231" y="59154"/>
                    <a:pt x="21740" y="60664"/>
                    <a:pt x="23603" y="60664"/>
                  </a:cubicBezTo>
                  <a:lnTo>
                    <a:pt x="57292" y="60664"/>
                  </a:lnTo>
                  <a:cubicBezTo>
                    <a:pt x="59154" y="60664"/>
                    <a:pt x="60664" y="59154"/>
                    <a:pt x="60664" y="57292"/>
                  </a:cubicBezTo>
                  <a:lnTo>
                    <a:pt x="60664" y="23603"/>
                  </a:lnTo>
                  <a:cubicBezTo>
                    <a:pt x="60664" y="21740"/>
                    <a:pt x="59154" y="20231"/>
                    <a:pt x="57292" y="20231"/>
                  </a:cubicBezTo>
                  <a:close/>
                  <a:moveTo>
                    <a:pt x="104500" y="26974"/>
                  </a:moveTo>
                  <a:lnTo>
                    <a:pt x="259667" y="26974"/>
                  </a:lnTo>
                  <a:cubicBezTo>
                    <a:pt x="265253" y="26974"/>
                    <a:pt x="269782" y="31503"/>
                    <a:pt x="269782" y="37090"/>
                  </a:cubicBezTo>
                  <a:cubicBezTo>
                    <a:pt x="269782" y="42211"/>
                    <a:pt x="265976" y="46443"/>
                    <a:pt x="261040" y="47113"/>
                  </a:cubicBezTo>
                  <a:lnTo>
                    <a:pt x="259667" y="47205"/>
                  </a:lnTo>
                  <a:lnTo>
                    <a:pt x="104500" y="47205"/>
                  </a:lnTo>
                  <a:cubicBezTo>
                    <a:pt x="98913" y="47205"/>
                    <a:pt x="94384" y="42676"/>
                    <a:pt x="94384" y="37090"/>
                  </a:cubicBezTo>
                  <a:cubicBezTo>
                    <a:pt x="94384" y="31969"/>
                    <a:pt x="98190" y="27736"/>
                    <a:pt x="103127" y="27067"/>
                  </a:cubicBezTo>
                  <a:lnTo>
                    <a:pt x="104500" y="26974"/>
                  </a:lnTo>
                  <a:lnTo>
                    <a:pt x="259667" y="26974"/>
                  </a:lnTo>
                  <a:lnTo>
                    <a:pt x="104500" y="26974"/>
                  </a:lnTo>
                  <a:close/>
                </a:path>
              </a:pathLst>
            </a:custGeom>
            <a:gradFill flip="none" rotWithShape="1">
              <a:gsLst>
                <a:gs pos="0">
                  <a:srgbClr val="0078D4"/>
                </a:gs>
                <a:gs pos="100000">
                  <a:srgbClr val="C53FCC"/>
                </a:gs>
              </a:gsLst>
              <a:lin ang="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lIns="704088" tIns="45720" rIns="91440" bIns="45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white"/>
                </a:solidFill>
                <a:effectLst/>
                <a:uLnTx/>
                <a:uFillTx/>
                <a:latin typeface="Segoe UI Semibold"/>
                <a:ea typeface="+mn-ea"/>
                <a:cs typeface="+mn-cs"/>
              </a:endParaRPr>
            </a:p>
          </p:txBody>
        </p:sp>
      </p:grpSp>
      <p:grpSp>
        <p:nvGrpSpPr>
          <p:cNvPr id="32" name="Group 31">
            <a:extLst>
              <a:ext uri="{FF2B5EF4-FFF2-40B4-BE49-F238E27FC236}">
                <a16:creationId xmlns:a16="http://schemas.microsoft.com/office/drawing/2014/main" id="{17C084F7-657B-7122-3608-AF07F5CC6949}"/>
              </a:ext>
              <a:ext uri="{C183D7F6-B498-43B3-948B-1728B52AA6E4}">
                <adec:decorative xmlns:adec="http://schemas.microsoft.com/office/drawing/2017/decorative" val="1"/>
              </a:ext>
            </a:extLst>
          </p:cNvPr>
          <p:cNvGrpSpPr/>
          <p:nvPr/>
        </p:nvGrpSpPr>
        <p:grpSpPr>
          <a:xfrm>
            <a:off x="11098527" y="5130641"/>
            <a:ext cx="355918" cy="355918"/>
            <a:chOff x="11187427" y="4978241"/>
            <a:chExt cx="355918" cy="355918"/>
          </a:xfrm>
        </p:grpSpPr>
        <p:sp>
          <p:nvSpPr>
            <p:cNvPr id="22" name="Oval 21">
              <a:extLst>
                <a:ext uri="{FF2B5EF4-FFF2-40B4-BE49-F238E27FC236}">
                  <a16:creationId xmlns:a16="http://schemas.microsoft.com/office/drawing/2014/main" id="{A22E076D-CC58-01BA-FA1A-F26F2DD4BB85}"/>
                </a:ext>
              </a:extLst>
            </p:cNvPr>
            <p:cNvSpPr/>
            <p:nvPr/>
          </p:nvSpPr>
          <p:spPr>
            <a:xfrm>
              <a:off x="11187427" y="4978241"/>
              <a:ext cx="355918" cy="355918"/>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8" name="Graphic 104" descr="Icon of an envelope">
              <a:extLst>
                <a:ext uri="{FF2B5EF4-FFF2-40B4-BE49-F238E27FC236}">
                  <a16:creationId xmlns:a16="http://schemas.microsoft.com/office/drawing/2014/main" id="{655D7E6C-8F04-E880-B98D-8EA8C8BD6206}"/>
                </a:ext>
              </a:extLst>
            </p:cNvPr>
            <p:cNvSpPr/>
            <p:nvPr/>
          </p:nvSpPr>
          <p:spPr>
            <a:xfrm>
              <a:off x="11249853" y="5063774"/>
              <a:ext cx="231066" cy="184854"/>
            </a:xfrm>
            <a:custGeom>
              <a:avLst/>
              <a:gdLst>
                <a:gd name="connsiteX0" fmla="*/ 48754 w 300026"/>
                <a:gd name="connsiteY0" fmla="*/ 0 h 240021"/>
                <a:gd name="connsiteX1" fmla="*/ 251272 w 300026"/>
                <a:gd name="connsiteY1" fmla="*/ 0 h 240021"/>
                <a:gd name="connsiteX2" fmla="*/ 299950 w 300026"/>
                <a:gd name="connsiteY2" fmla="*/ 45988 h 240021"/>
                <a:gd name="connsiteX3" fmla="*/ 300027 w 300026"/>
                <a:gd name="connsiteY3" fmla="*/ 48754 h 240021"/>
                <a:gd name="connsiteX4" fmla="*/ 300027 w 300026"/>
                <a:gd name="connsiteY4" fmla="*/ 191267 h 240021"/>
                <a:gd name="connsiteX5" fmla="*/ 254039 w 300026"/>
                <a:gd name="connsiteY5" fmla="*/ 239945 h 240021"/>
                <a:gd name="connsiteX6" fmla="*/ 251272 w 300026"/>
                <a:gd name="connsiteY6" fmla="*/ 240021 h 240021"/>
                <a:gd name="connsiteX7" fmla="*/ 48754 w 300026"/>
                <a:gd name="connsiteY7" fmla="*/ 240021 h 240021"/>
                <a:gd name="connsiteX8" fmla="*/ 77 w 300026"/>
                <a:gd name="connsiteY8" fmla="*/ 194033 h 240021"/>
                <a:gd name="connsiteX9" fmla="*/ 0 w 300026"/>
                <a:gd name="connsiteY9" fmla="*/ 191267 h 240021"/>
                <a:gd name="connsiteX10" fmla="*/ 0 w 300026"/>
                <a:gd name="connsiteY10" fmla="*/ 48754 h 240021"/>
                <a:gd name="connsiteX11" fmla="*/ 45988 w 300026"/>
                <a:gd name="connsiteY11" fmla="*/ 77 h 240021"/>
                <a:gd name="connsiteX12" fmla="*/ 48754 w 300026"/>
                <a:gd name="connsiteY12" fmla="*/ 0 h 240021"/>
                <a:gd name="connsiteX13" fmla="*/ 251272 w 300026"/>
                <a:gd name="connsiteY13" fmla="*/ 0 h 240021"/>
                <a:gd name="connsiteX14" fmla="*/ 48754 w 300026"/>
                <a:gd name="connsiteY14" fmla="*/ 0 h 240021"/>
                <a:gd name="connsiteX15" fmla="*/ 277525 w 300026"/>
                <a:gd name="connsiteY15" fmla="*/ 80602 h 240021"/>
                <a:gd name="connsiteX16" fmla="*/ 155253 w 300026"/>
                <a:gd name="connsiteY16" fmla="*/ 144968 h 240021"/>
                <a:gd name="connsiteX17" fmla="*/ 146215 w 300026"/>
                <a:gd name="connsiteY17" fmla="*/ 145603 h 240021"/>
                <a:gd name="connsiteX18" fmla="*/ 144773 w 300026"/>
                <a:gd name="connsiteY18" fmla="*/ 144968 h 240021"/>
                <a:gd name="connsiteX19" fmla="*/ 22502 w 300026"/>
                <a:gd name="connsiteY19" fmla="*/ 80617 h 240021"/>
                <a:gd name="connsiteX20" fmla="*/ 22502 w 300026"/>
                <a:gd name="connsiteY20" fmla="*/ 191267 h 240021"/>
                <a:gd name="connsiteX21" fmla="*/ 46601 w 300026"/>
                <a:gd name="connsiteY21" fmla="*/ 217432 h 240021"/>
                <a:gd name="connsiteX22" fmla="*/ 48754 w 300026"/>
                <a:gd name="connsiteY22" fmla="*/ 217519 h 240021"/>
                <a:gd name="connsiteX23" fmla="*/ 251272 w 300026"/>
                <a:gd name="connsiteY23" fmla="*/ 217519 h 240021"/>
                <a:gd name="connsiteX24" fmla="*/ 277438 w 300026"/>
                <a:gd name="connsiteY24" fmla="*/ 193420 h 240021"/>
                <a:gd name="connsiteX25" fmla="*/ 277525 w 300026"/>
                <a:gd name="connsiteY25" fmla="*/ 191267 h 240021"/>
                <a:gd name="connsiteX26" fmla="*/ 277525 w 300026"/>
                <a:gd name="connsiteY26" fmla="*/ 80602 h 240021"/>
                <a:gd name="connsiteX27" fmla="*/ 251272 w 300026"/>
                <a:gd name="connsiteY27" fmla="*/ 22502 h 240021"/>
                <a:gd name="connsiteX28" fmla="*/ 48754 w 300026"/>
                <a:gd name="connsiteY28" fmla="*/ 22502 h 240021"/>
                <a:gd name="connsiteX29" fmla="*/ 22589 w 300026"/>
                <a:gd name="connsiteY29" fmla="*/ 46601 h 240021"/>
                <a:gd name="connsiteX30" fmla="*/ 22502 w 300026"/>
                <a:gd name="connsiteY30" fmla="*/ 48754 h 240021"/>
                <a:gd name="connsiteX31" fmla="*/ 22502 w 300026"/>
                <a:gd name="connsiteY31" fmla="*/ 55190 h 240021"/>
                <a:gd name="connsiteX32" fmla="*/ 150013 w 300026"/>
                <a:gd name="connsiteY32" fmla="*/ 122298 h 240021"/>
                <a:gd name="connsiteX33" fmla="*/ 277525 w 300026"/>
                <a:gd name="connsiteY33" fmla="*/ 55175 h 240021"/>
                <a:gd name="connsiteX34" fmla="*/ 277525 w 300026"/>
                <a:gd name="connsiteY34" fmla="*/ 48754 h 240021"/>
                <a:gd name="connsiteX35" fmla="*/ 253425 w 300026"/>
                <a:gd name="connsiteY35" fmla="*/ 22589 h 240021"/>
                <a:gd name="connsiteX36" fmla="*/ 251272 w 300026"/>
                <a:gd name="connsiteY36" fmla="*/ 22502 h 2400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300026" h="240021">
                  <a:moveTo>
                    <a:pt x="48754" y="0"/>
                  </a:moveTo>
                  <a:lnTo>
                    <a:pt x="251272" y="0"/>
                  </a:lnTo>
                  <a:cubicBezTo>
                    <a:pt x="277270" y="0"/>
                    <a:pt x="298515" y="20349"/>
                    <a:pt x="299950" y="45988"/>
                  </a:cubicBezTo>
                  <a:lnTo>
                    <a:pt x="300027" y="48754"/>
                  </a:lnTo>
                  <a:lnTo>
                    <a:pt x="300027" y="191267"/>
                  </a:lnTo>
                  <a:cubicBezTo>
                    <a:pt x="300027" y="217264"/>
                    <a:pt x="279677" y="238509"/>
                    <a:pt x="254039" y="239945"/>
                  </a:cubicBezTo>
                  <a:lnTo>
                    <a:pt x="251272" y="240021"/>
                  </a:lnTo>
                  <a:lnTo>
                    <a:pt x="48754" y="240021"/>
                  </a:lnTo>
                  <a:cubicBezTo>
                    <a:pt x="22757" y="240021"/>
                    <a:pt x="1511" y="219672"/>
                    <a:pt x="77" y="194033"/>
                  </a:cubicBezTo>
                  <a:lnTo>
                    <a:pt x="0" y="191267"/>
                  </a:lnTo>
                  <a:lnTo>
                    <a:pt x="0" y="48754"/>
                  </a:lnTo>
                  <a:cubicBezTo>
                    <a:pt x="0" y="22757"/>
                    <a:pt x="20349" y="1511"/>
                    <a:pt x="45988" y="77"/>
                  </a:cubicBezTo>
                  <a:lnTo>
                    <a:pt x="48754" y="0"/>
                  </a:lnTo>
                  <a:lnTo>
                    <a:pt x="251272" y="0"/>
                  </a:lnTo>
                  <a:lnTo>
                    <a:pt x="48754" y="0"/>
                  </a:lnTo>
                  <a:close/>
                  <a:moveTo>
                    <a:pt x="277525" y="80602"/>
                  </a:moveTo>
                  <a:lnTo>
                    <a:pt x="155253" y="144968"/>
                  </a:lnTo>
                  <a:cubicBezTo>
                    <a:pt x="152442" y="146448"/>
                    <a:pt x="149160" y="146659"/>
                    <a:pt x="146215" y="145603"/>
                  </a:cubicBezTo>
                  <a:lnTo>
                    <a:pt x="144773" y="144968"/>
                  </a:lnTo>
                  <a:lnTo>
                    <a:pt x="22502" y="80617"/>
                  </a:lnTo>
                  <a:lnTo>
                    <a:pt x="22502" y="191267"/>
                  </a:lnTo>
                  <a:cubicBezTo>
                    <a:pt x="22502" y="205041"/>
                    <a:pt x="33110" y="216337"/>
                    <a:pt x="46601" y="217432"/>
                  </a:cubicBezTo>
                  <a:lnTo>
                    <a:pt x="48754" y="217519"/>
                  </a:lnTo>
                  <a:lnTo>
                    <a:pt x="251272" y="217519"/>
                  </a:lnTo>
                  <a:cubicBezTo>
                    <a:pt x="265047" y="217519"/>
                    <a:pt x="276343" y="206912"/>
                    <a:pt x="277438" y="193420"/>
                  </a:cubicBezTo>
                  <a:lnTo>
                    <a:pt x="277525" y="191267"/>
                  </a:lnTo>
                  <a:lnTo>
                    <a:pt x="277525" y="80602"/>
                  </a:lnTo>
                  <a:close/>
                  <a:moveTo>
                    <a:pt x="251272" y="22502"/>
                  </a:moveTo>
                  <a:lnTo>
                    <a:pt x="48754" y="22502"/>
                  </a:lnTo>
                  <a:cubicBezTo>
                    <a:pt x="34981" y="22502"/>
                    <a:pt x="23684" y="33110"/>
                    <a:pt x="22589" y="46601"/>
                  </a:cubicBezTo>
                  <a:lnTo>
                    <a:pt x="22502" y="48754"/>
                  </a:lnTo>
                  <a:lnTo>
                    <a:pt x="22502" y="55190"/>
                  </a:lnTo>
                  <a:lnTo>
                    <a:pt x="150013" y="122298"/>
                  </a:lnTo>
                  <a:lnTo>
                    <a:pt x="277525" y="55175"/>
                  </a:lnTo>
                  <a:lnTo>
                    <a:pt x="277525" y="48754"/>
                  </a:lnTo>
                  <a:cubicBezTo>
                    <a:pt x="277525" y="34981"/>
                    <a:pt x="266917" y="23684"/>
                    <a:pt x="253425" y="22589"/>
                  </a:cubicBezTo>
                  <a:lnTo>
                    <a:pt x="251272" y="22502"/>
                  </a:lnTo>
                  <a:close/>
                </a:path>
              </a:pathLst>
            </a:custGeom>
            <a:gradFill flip="none" rotWithShape="1">
              <a:gsLst>
                <a:gs pos="0">
                  <a:srgbClr val="0078D4"/>
                </a:gs>
                <a:gs pos="100000">
                  <a:srgbClr val="C53FCC"/>
                </a:gs>
              </a:gsLst>
              <a:lin ang="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lIns="704088" tIns="45720" rIns="91440" bIns="45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white"/>
                </a:solidFill>
                <a:effectLst/>
                <a:uLnTx/>
                <a:uFillTx/>
                <a:latin typeface="Segoe UI Semibold"/>
                <a:ea typeface="+mn-ea"/>
                <a:cs typeface="+mn-cs"/>
              </a:endParaRPr>
            </a:p>
          </p:txBody>
        </p:sp>
      </p:grpSp>
    </p:spTree>
    <p:extLst>
      <p:ext uri="{BB962C8B-B14F-4D97-AF65-F5344CB8AC3E}">
        <p14:creationId xmlns:p14="http://schemas.microsoft.com/office/powerpoint/2010/main" val="4794712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POWER_USER_CONTEXTUAL_SHAPES_AGENDA_DESIGNER" val="{&quot;Version&quot;:2,&quot;Divider1&quot;:{&quot;Title&quot;:{&quot;AutoShapeType&quot;:1,&quot;CalloutType&quot;:1,&quot;CalloutAngle&quot;:2,&quot;CalloutGap&quot;:-3.40282347E+38,&quot;Visible&quot;:-1,&quot;LockAspectRatio&quot;:0,&quot;CanUpdateAdjustments&quot;:true,&quot;Adjustment1&quot;:-1.0,&quot;Adjustment2&quot;:-1.0,&quot;Adjustment3&quot;:-1.0,&quot;Adjustment4&quot;:-1.0,&quot;CanManagePosition&quot;:true,&quot;Left&quot;:240.0,&quot;Top&quot;:216.0,&quot;Rotation&quot;:-1.0,&quot;CanManageSize&quot;:true,&quot;Width&quot;:700.0,&quot;Height&quot;:108.0,&quot;TextFrame2AutoSize&quot;:1,&quot;TextFrame2TextRangeFontName&quot;:&quot;&quot;,&quot;TextFrameMarginTop&quot;:0.0,&quot;TextFrameMarginLeft&quot;:0.0,&quot;TextFrameMarginRight&quot;:0.0,&quot;TextFrameMarginBottom&quot;:0.0,&quot;TextFrameWordWrap&quot;:-1,&quot;TextFrameTextRangeFontSize&quot;:30.0,&quot;TextFrameTextRangeFontColorHexa&quot;:&quot;#000000&quot;,&quot;TextFrameTextRangeFontHighlightColorHexa&quot;:&quot;&quot;,&quot;TextFrameTextRangeFontBold&quot;:0,&quot;TextFrameTextRangeFontItalic&quot;:0,&quot;TextFrameTextRangeFontUnderline&quot;:0,&quot;TextFrameVerticalAnchor&quot;:1,&quot;TextFrameHorizontalAnchor&quot;:1,&quot;TextFrameTextRangeParagraphFormatBulletType&quot;:0,&quot;TextFrameTextRangeParagraphFormatBulletRelativeSize&quot;:-3.40282347E+38,&quot;TextFrameTextRangeParagraphFormatBulletCharacter&quot;:-2147483648,&quot;TextFrameTextRangeParagraphFormatBulletFontName&quot;:&quot;&quot;,&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1,&quot;ZOrderPosition&quot;:-2147483648,&quot;CanChangeZOrderPosition&quot;:true,&quot;FillVisible&quot;:0,&quot;FillForeColorHexa&quot;:&quot;#000000&quot;,&quot;FillTransparency&quot;:1.0,&quot;LineVisible&quot;:0,&quot;LineForeColorHexa&quot;:null,&quot;LineWeight&quot;:0.0,&quot;LineDashStyle&quot;:1,&quot;LineEndArrowheadStyle&quot;:1,&quot;LineBeginArrowheadStyle&quot;:1,&quot;ShouldSendToBack&quot;:false,&quot;NeedsApplyToAll&quot;:true},&quot;Number&quot;:{&quot;AutoShapeType&quot;:1,&quot;CalloutType&quot;:1,&quot;CalloutAngle&quot;:2,&quot;CalloutGap&quot;:-3.40282347E+38,&quot;Visible&quot;:-1,&quot;LockAspectRatio&quot;:0,&quot;CanUpdateAdjustments&quot;:true,&quot;Adjustment1&quot;:-1.0,&quot;Adjustment2&quot;:-1.0,&quot;Adjustment3&quot;:-1.0,&quot;Adjustment4&quot;:-1.0,&quot;CanManagePosition&quot;:true,&quot;Left&quot;:115.2,&quot;Top&quot;:216.0,&quot;Rotation&quot;:-1.0,&quot;CanManageSize&quot;:true,&quot;Width&quot;:81.0,&quot;Height&quot;:81.0,&quot;TextFrame2AutoSize&quot;:0,&quot;TextFrame2TextRangeFontName&quot;:&quot;&quot;,&quot;TextFrameMarginTop&quot;:0.0,&quot;TextFrameMarginLeft&quot;:0.0,&quot;TextFrameMarginRight&quot;:0.0,&quot;TextFrameMarginBottom&quot;:0.0,&quot;TextFrameWordWrap&quot;:0,&quot;TextFrameTextRangeFontSize&quot;:30.0,&quot;TextFrameTextRangeFontColorHexa&quot;:&quot;#FFFFFF&quot;,&quot;TextFrameTextRangeFontHighlightColorHexa&quot;:&quot;&quot;,&quot;TextFrameTextRangeFontBold&quot;:0,&quot;TextFrameTextRangeFontItalic&quot;:0,&quot;TextFrameTextRangeFontUnderline&quot;:0,&quot;TextFrameVerticalAnchor&quot;:3,&quot;TextFrameHorizontalAnchor&quot;:2,&quot;TextFrameTextRangeParagraphFormatBulletType&quot;:0,&quot;TextFrameTextRangeParagraphFormatBulletRelativeSize&quot;:-3.40282347E+38,&quot;TextFrameTextRangeParagraphFormatBulletCharacter&quot;:-2147483648,&quot;TextFrameTextRangeParagraphFormatBulletFontName&quot;:&quot;&quot;,&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CanChangeZOrderPosition&quot;:true,&quot;FillVisible&quot;:-1,&quot;FillForeColorHexa&quot;:&quot;#C5B4E3&quot;,&quot;FillTransparency&quot;:0.0,&quot;LineVisible&quot;:0,&quot;LineForeColorHexa&quot;:null,&quot;LineWeight&quot;:0.0,&quot;LineDashStyle&quot;:1,&quot;LineEndArrowheadStyle&quot;:1,&quot;LineBeginArrowheadStyle&quot;:1,&quot;ShouldSendToBack&quot;:false,&quot;NeedsApplyToAll&quot;:true},&quot;Line&quot;:{&quot;AutoShapeType&quot;:1,&quot;CalloutType&quot;:1,&quot;CalloutAngle&quot;:2,&quot;CalloutGap&quot;:-3.40282347E+38,&quot;Visible&quot;:-1,&quot;LockAspectRatio&quot;:0,&quot;CanUpdateAdjustments&quot;:true,&quot;Adjustment1&quot;:-1.0,&quot;Adjustment2&quot;:-1.0,&quot;Adjustment3&quot;:-1.0,&quot;Adjustment4&quot;:-1.0,&quot;CanManagePosition&quot;:true,&quot;Left&quot;:240.0,&quot;Top&quot;:331.0,&quot;Rotation&quot;:-1.0,&quot;CanManageSize&quot;:true,&quot;Width&quot;:700.0,&quot;Height&quot;:0.0,&quot;TextFrame2AutoSize&quot;:0,&quot;TextFrame2TextRangeFontName&quot;:&quot;&quot;,&quot;TextFrameMarginTop&quot;:0.0,&quot;TextFrameMarginLeft&quot;:0.0,&quot;TextFrameMarginRight&quot;:0.0,&quot;TextFrameMarginBottom&quot;:0.0,&quot;TextFrameWordWrap&quot;:-1,&quot;TextFrameTextRangeFontSize&quot;:18.0,&quot;TextFrameTextRangeFontColorHexa&quot;:&quot;#000000&quot;,&quot;TextFrameTextRangeFontHighlightColorHexa&quot;:&quot;&quot;,&quot;TextFrameTextRangeFontBold&quot;:0,&quot;TextFrameTextRangeFontItalic&quot;:0,&quot;TextFrameTextRangeFontUnderline&quot;:0,&quot;TextFrameVerticalAnchor&quot;:3,&quot;TextFrameHorizontalAnchor&quot;:1,&quot;TextFrameTextRangeParagraphFormatBulletType&quot;:0,&quot;TextFrameTextRangeParagraphFormatBulletRelativeSize&quot;:-3.40282347E+38,&quot;TextFrameTextRangeParagraphFormatBulletCharacter&quot;:-2147483648,&quot;TextFrameTextRangeParagraphFormatBulletFontName&quot;:&quot;&quot;,&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CanChangeZOrderPosition&quot;:true,&quot;FillVisible&quot;:0,&quot;FillForeColorHexa&quot;:&quot;#000000&quot;,&quot;FillTransparency&quot;:0.0,&quot;LineVisible&quot;:-1,&quot;LineForeColorHexa&quot;:&quot;#C5B4E3&quot;,&quot;LineWeight&quot;:0.0,&quot;LineDashStyle&quot;:1,&quot;LineEndArrowheadStyle&quot;:1,&quot;LineBeginArrowheadStyle&quot;:1,&quot;ShouldSendToBack&quot;:false,&quot;NeedsApplyToAll&quot;:false},&quot;FontSizeShapeRatio&quot;:1.4},&quot;TableOfContent1&quot;:{&quot;MarginLeft&quot;:76.8,&quot;MarginRight&quot;:76.79999,&quot;MarginTop&quot;:86.4,&quot;MarginBottom&quot;:21.5999756,&quot;ShouldVerticalCenter&quot;:true,&quot;Title&quot;:{&quot;AutoShapeType&quot;:1,&quot;CalloutType&quot;:1,&quot;CalloutAngle&quot;:2,&quot;CalloutGap&quot;:-3.40282347E+38,&quot;Visible&quot;:-1,&quot;LockAspectRatio&quot;:0,&quot;CanUpdateAdjustments&quot;:true,&quot;Adjustment1&quot;:-1.0,&quot;Adjustment2&quot;:-1.0,&quot;Adjustment3&quot;:-1.0,&quot;Adjustment4&quot;:-1.0,&quot;CanManagePosition&quot;:true,&quot;Left&quot;:76.8,&quot;Top&quot;:54.0,&quot;Rotation&quot;:0.0,&quot;CanManageSize&quot;:true,&quot;Width&quot;:768.0,&quot;Height&quot;:30.0,&quot;TextFrame2AutoSize&quot;:0,&quot;TextFrame2TextRangeFontName&quot;:&quot;&quot;,&quot;TextFrameMarginTop&quot;:0.0,&quot;TextFrameMarginLeft&quot;:0.0,&quot;TextFrameMarginRight&quot;:0.0,&quot;TextFrameMarginBottom&quot;:0.0,&quot;TextFrameWordWrap&quot;:-1,&quot;TextFrameTextRangeFontSize&quot;:32.0,&quot;TextFrameTextRangeFontColorHexa&quot;:&quot;#000000&quot;,&quot;TextFrameTextRangeFontHighlightColorHexa&quot;:&quot;&quot;,&quot;TextFrameTextRangeFontBold&quot;:0,&quot;TextFrameTextRangeFontItalic&quot;:0,&quot;TextFrameTextRangeFontUnderline&quot;:0,&quot;TextFrameVerticalAnchor&quot;:3,&quot;TextFrameHorizontalAnchor&quot;:1,&quot;TextFrameTextRangeParagraphFormatBulletType&quot;:0,&quot;TextFrameTextRangeParagraphFormatBulletRelativeSize&quot;:-3.40282347E+38,&quot;TextFrameTextRangeParagraphFormatBulletCharacter&quot;:-2147483648,&quot;TextFrameTextRangeParagraphFormatBulletFontName&quot;:&quot;&quot;,&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1,&quot;ZOrderPosition&quot;:-2147483648,&quot;CanChangeZOrderPosition&quot;:true,&quot;FillVisible&quot;:0,&quot;FillForeColorHexa&quot;:&quot;#000000&quot;,&quot;FillTransparency&quot;:1.0,&quot;LineVisible&quot;:0,&quot;LineForeColorHexa&quot;:null,&quot;LineWeight&quot;:0.0,&quot;LineDashStyle&quot;:1,&quot;LineEndArrowheadStyle&quot;:1,&quot;LineBeginArrowheadStyle&quot;:1,&quot;ShouldSendToBack&quot;:false,&quot;NeedsApplyToAll&quot;:true},&quot;SectionTitle&quot;:{&quot;Active&quot;:{&quot;AutoShapeType&quot;:1,&quot;CalloutType&quot;:1,&quot;CalloutAngle&quot;:2,&quot;CalloutGap&quot;:-3.40282347E+38,&quot;Visible&quot;:-1,&quot;LockAspectRatio&quot;:0,&quot;CanUpdateAdjustments&quot;:true,&quot;Adjustment1&quot;:-1.0,&quot;Adjustment2&quot;:-1.0,&quot;Adjustment3&quot;:-1.0,&quot;Adjustment4&quot;:-1.0,&quot;CanManagePosition&quot;:false,&quot;Left&quot;:-1.0,&quot;Top&quot;:-1.0,&quot;Rotation&quot;:-1.0,&quot;CanManageSize&quot;:false,&quot;Width&quot;:100.0,&quot;Height&quot;:-1.0,&quot;TextFrame2AutoSize&quot;:0,&quot;TextFrame2TextRangeFontName&quot;:&quot;&quot;,&quot;TextFrameMarginTop&quot;:0.0,&quot;TextFrameMarginLeft&quot;:7.0,&quot;TextFrameMarginRight&quot;:0.0,&quot;TextFrameMarginBottom&quot;:0.0,&quot;TextFrameWordWrap&quot;:-1,&quot;TextFrameTextRangeFontSize&quot;:18.0,&quot;TextFrameTextRangeFontColorHexa&quot;:&quot;#FFFFFF&quot;,&quot;TextFrameTextRangeFontHighlightColorHexa&quot;:&quot;&quot;,&quot;TextFrameTextRangeFontBold&quot;:0,&quot;TextFrameTextRangeFontItalic&quot;:0,&quot;TextFrameTextRangeFontUnderline&quot;:0,&quot;TextFrameVerticalAnchor&quot;:3,&quot;TextFrameHorizontalAnchor&quot;:1,&quot;TextFrameTextRangeParagraphFormatBulletType&quot;:0,&quot;TextFrameTextRangeParagraphFormatBulletRelativeSize&quot;:-3.40282347E+38,&quot;TextFrameTextRangeParagraphFormatBulletCharacter&quot;:-2147483648,&quot;TextFrameTextRangeParagraphFormatBulletFontName&quot;:&quot;&quot;,&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1,&quot;ZOrderPosition&quot;:-2147483648,&quot;CanChangeZOrderPosition&quot;:true,&quot;FillVisible&quot;:0,&quot;FillForeColorHexa&quot;:&quot;#000000&quot;,&quot;FillTransparency&quot;:0.0,&quot;LineVisible&quot;:0,&quot;LineForeColorHexa&quot;:null,&quot;LineWeight&quot;:0.0,&quot;LineDashStyle&quot;:1,&quot;LineEndArrowheadStyle&quot;:1,&quot;LineBeginArrowheadStyle&quot;:1,&quot;ShouldSendToBack&quot;:false,&quot;NeedsApplyToAll&quot;:false},&quot;Inactive&quot;:{&quot;AutoShapeType&quot;:1,&quot;CalloutType&quot;:1,&quot;CalloutAngle&quot;:2,&quot;CalloutGap&quot;:-3.40282347E+38,&quot;Visible&quot;:-1,&quot;LockAspectRatio&quot;:0,&quot;CanUpdateAdjustments&quot;:true,&quot;Adjustment1&quot;:-1.0,&quot;Adjustment2&quot;:-1.0,&quot;Adjustment3&quot;:-1.0,&quot;Adjustment4&quot;:-1.0,&quot;CanManagePosition&quot;:false,&quot;Left&quot;:-1.0,&quot;Top&quot;:-1.0,&quot;Rotation&quot;:-1.0,&quot;CanManageSize&quot;:false,&quot;Width&quot;:100.0,&quot;Height&quot;:-1.0,&quot;TextFrame2AutoSize&quot;:0,&quot;TextFrame2TextRangeFontName&quot;:&quot;&quot;,&quot;TextFrameMarginTop&quot;:0.0,&quot;TextFrameMarginLeft&quot;:7.0,&quot;TextFrameMarginRight&quot;:0.0,&quot;TextFrameMarginBottom&quot;:0.0,&quot;TextFrameWordWrap&quot;:-1,&quot;TextFrameTextRangeFontSize&quot;:18.0,&quot;TextFrameTextRangeFontColorHexa&quot;:&quot;#000000&quot;,&quot;TextFrameTextRangeFontHighlightColorHexa&quot;:&quot;&quot;,&quot;TextFrameTextRangeFontBold&quot;:0,&quot;TextFrameTextRangeFontItalic&quot;:0,&quot;TextFrameTextRangeFontUnderline&quot;:0,&quot;TextFrameVerticalAnchor&quot;:3,&quot;TextFrameHorizontalAnchor&quot;:1,&quot;TextFrameTextRangeParagraphFormatBulletType&quot;:0,&quot;TextFrameTextRangeParagraphFormatBulletRelativeSize&quot;:-3.40282347E+38,&quot;TextFrameTextRangeParagraphFormatBulletCharacter&quot;:-2147483648,&quot;TextFrameTextRangeParagraphFormatBulletFontName&quot;:&quot;&quot;,&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1,&quot;ZOrderPosition&quot;:-2147483648,&quot;CanChangeZOrderPosition&quot;:true,&quot;FillVisible&quot;:0,&quot;FillForeColorHexa&quot;:&quot;#000000&quot;,&quot;FillTransparency&quot;:0.0,&quot;LineVisible&quot;:0,&quot;LineForeColorHexa&quot;:null,&quot;LineWeight&quot;:0.0,&quot;LineDashStyle&quot;:1,&quot;LineEndArrowheadStyle&quot;:1,&quot;LineBeginArrowheadStyle&quot;:1,&quot;ShouldSendToBack&quot;:false,&quot;NeedsApplyToAll&quot;:false},&quot;CoverPage&quot;:{&quot;AutoShapeType&quot;:1,&quot;CalloutType&quot;:1,&quot;CalloutAngle&quot;:2,&quot;CalloutGap&quot;:-3.40282347E+38,&quot;Visible&quot;:-1,&quot;LockAspectRatio&quot;:0,&quot;CanUpdateAdjustments&quot;:true,&quot;Adjustment1&quot;:-1.0,&quot;Adjustment2&quot;:-1.0,&quot;Adjustment3&quot;:-1.0,&quot;Adjustment4&quot;:-1.0,&quot;CanManagePosition&quot;:false,&quot;Left&quot;:-1.0,&quot;Top&quot;:-1.0,&quot;Rotation&quot;:-1.0,&quot;CanManageSize&quot;:false,&quot;Width&quot;:100.0,&quot;Height&quot;:-1.0,&quot;TextFrame2AutoSize&quot;:0,&quot;TextFrame2TextRangeFontName&quot;:&quot;&quot;,&quot;TextFrameMarginTop&quot;:0.0,&quot;TextFrameMarginLeft&quot;:7.0,&quot;TextFrameMarginRight&quot;:0.0,&quot;TextFrameMarginBottom&quot;:0.0,&quot;TextFrameWordWrap&quot;:-1,&quot;TextFrameTextRangeFontSize&quot;:18.0,&quot;TextFrameTextRangeFontColorHexa&quot;:&quot;#000000&quot;,&quot;TextFrameTextRangeFontHighlightColorHexa&quot;:&quot;&quot;,&quot;TextFrameTextRangeFontBold&quot;:0,&quot;TextFrameTextRangeFontItalic&quot;:0,&quot;TextFrameTextRangeFontUnderline&quot;:0,&quot;TextFrameVerticalAnchor&quot;:3,&quot;TextFrameHorizontalAnchor&quot;:1,&quot;TextFrameTextRangeParagraphFormatBulletType&quot;:0,&quot;TextFrameTextRangeParagraphFormatBulletRelativeSize&quot;:-3.40282347E+38,&quot;TextFrameTextRangeParagraphFormatBulletCharacter&quot;:-2147483648,&quot;TextFrameTextRangeParagraphFormatBulletFontName&quot;:&quot;&quot;,&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1,&quot;ZOrderPosition&quot;:-2147483648,&quot;CanChangeZOrderPosition&quot;:true,&quot;FillVisible&quot;:0,&quot;FillForeColorHexa&quot;:&quot;#000000&quot;,&quot;FillTransparency&quot;:0.0,&quot;LineVisible&quot;:0,&quot;LineForeColorHexa&quot;:null,&quot;LineWeight&quot;:0.0,&quot;LineDashStyle&quot;:1,&quot;LineEndArrowheadStyle&quot;:1,&quot;LineBeginArrowheadStyle&quot;:1,&quot;ShouldSendToBack&quot;:false,&quot;NeedsApplyToAll&quot;:false}},&quot;Back&quot;:{&quot;Active&quot;:{&quot;AutoShapeType&quot;:1,&quot;CalloutType&quot;:1,&quot;CalloutAngle&quot;:2,&quot;CalloutGap&quot;:-3.40282347E+38,&quot;Visible&quot;:-1,&quot;LockAspectRatio&quot;:0,&quot;CanUpdateAdjustments&quot;:true,&quot;Adjustment1&quot;:-1.0,&quot;Adjustment2&quot;:-1.0,&quot;Adjustment3&quot;:-1.0,&quot;Adjustment4&quot;:-1.0,&quot;CanManagePosition&quot;:false,&quot;Left&quot;:-1.0,&quot;Top&quot;:-1.0,&quot;Rotation&quot;:-1.0,&quot;CanManageSize&quot;:false,&quot;Width&quot;:-1.0,&quot;Height&quot;:-1.0,&quot;TextFrame2AutoSize&quot;:0,&quot;TextFrame2TextRangeFontName&quot;:&quot;&quot;,&quot;TextFrameMarginTop&quot;:0.0,&quot;TextFrameMarginLeft&quot;:0.0,&quot;TextFrameMarginRight&quot;:0.0,&quot;TextFrameMarginBottom&quot;:0.0,&quot;TextFrameWordWrap&quot;:-1,&quot;TextFrameTextRangeFontSize&quot;:18.0,&quot;TextFrameTextRangeFontColorHexa&quot;:&quot;#000000&quot;,&quot;TextFrameTextRangeFontHighlightColorHexa&quot;:&quot;&quot;,&quot;TextFrameTextRangeFontBold&quot;:0,&quot;TextFrameTextRangeFontItalic&quot;:0,&quot;TextFrameTextRangeFontUnderline&quot;:0,&quot;TextFrameVerticalAnchor&quot;:3,&quot;TextFrameHorizontalAnchor&quot;:1,&quot;TextFrameTextRangeParagraphFormatBulletType&quot;:0,&quot;TextFrameTextRangeParagraphFormatBulletRelativeSize&quot;:-3.40282347E+38,&quot;TextFrameTextRangeParagraphFormatBulletCharacter&quot;:-2147483648,&quot;TextFrameTextRangeParagraphFormatBulletFontName&quot;:&quot;&quot;,&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CanChangeZOrderPosition&quot;:true,&quot;FillVisible&quot;:-1,&quot;FillForeColorHexa&quot;:&quot;#C5B4E3&quot;,&quot;FillTransparency&quot;:0.0,&quot;LineVisible&quot;:0,&quot;LineForeColorHexa&quot;:null,&quot;LineWeight&quot;:0.0,&quot;LineDashStyle&quot;:1,&quot;LineEndArrowheadStyle&quot;:1,&quot;LineBeginArrowheadStyle&quot;:1,&quot;ShouldSendToBack&quot;:true,&quot;NeedsApplyToAll&quot;:false},&quot;Inactive&quot;:{&quot;AutoShapeType&quot;:1,&quot;CalloutType&quot;:1,&quot;CalloutAngle&quot;:2,&quot;CalloutGap&quot;:-3.40282347E+38,&quot;Visible&quot;:0,&quot;LockAspectRatio&quot;:0,&quot;CanUpdateAdjustments&quot;:true,&quot;Adjustment1&quot;:-1.0,&quot;Adjustment2&quot;:-1.0,&quot;Adjustment3&quot;:-1.0,&quot;Adjustment4&quot;:-1.0,&quot;CanManagePosition&quot;:false,&quot;Left&quot;:-1.0,&quot;Top&quot;:-1.0,&quot;Rotation&quot;:-1.0,&quot;CanManageSize&quot;:false,&quot;Width&quot;:-1.0,&quot;Height&quot;:-1.0,&quot;TextFrame2AutoSize&quot;:0,&quot;TextFrame2TextRangeFontName&quot;:&quot;&quot;,&quot;TextFrameMarginTop&quot;:0.0,&quot;TextFrameMarginLeft&quot;:0.0,&quot;TextFrameMarginRight&quot;:0.0,&quot;TextFrameMarginBottom&quot;:0.0,&quot;TextFrameWordWrap&quot;:-1,&quot;TextFrameTextRangeFontSize&quot;:18.0,&quot;TextFrameTextRangeFontColorHexa&quot;:&quot;#000000&quot;,&quot;TextFrameTextRangeFontHighlightColorHexa&quot;:&quot;&quot;,&quot;TextFrameTextRangeFontBold&quot;:0,&quot;TextFrameTextRangeFontItalic&quot;:0,&quot;TextFrameTextRangeFontUnderline&quot;:0,&quot;TextFrameVerticalAnchor&quot;:3,&quot;TextFrameHorizontalAnchor&quot;:1,&quot;TextFrameTextRangeParagraphFormatBulletType&quot;:0,&quot;TextFrameTextRangeParagraphFormatBulletRelativeSize&quot;:-3.40282347E+38,&quot;TextFrameTextRangeParagraphFormatBulletCharacter&quot;:-2147483648,&quot;TextFrameTextRangeParagraphFormatBulletFontName&quot;:&quot;&quot;,&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CanChangeZOrderPosition&quot;:true,&quot;FillVisible&quot;:-1,&quot;FillForeColorHexa&quot;:&quot;#000000&quot;,&quot;FillTransparency&quot;:0.0,&quot;LineVisible&quot;:-1,&quot;LineForeColorHexa&quot;:null,&quot;LineWeight&quot;:0.0,&quot;LineDashStyle&quot;:1,&quot;LineEndArrowheadStyle&quot;:1,&quot;LineBeginArrowheadStyle&quot;:1,&quot;ShouldSendToBack&quot;:true,&quot;NeedsApplyToAll&quot;:false},&quot;CoverPage&quot;:{&quot;AutoShapeType&quot;:1,&quot;CalloutType&quot;:1,&quot;CalloutAngle&quot;:2,&quot;CalloutGap&quot;:-3.40282347E+38,&quot;Visible&quot;:0,&quot;LockAspectRatio&quot;:0,&quot;CanUpdateAdjustments&quot;:true,&quot;Adjustment1&quot;:-1.0,&quot;Adjustment2&quot;:-1.0,&quot;Adjustment3&quot;:-1.0,&quot;Adjustment4&quot;:-1.0,&quot;CanManagePosition&quot;:false,&quot;Left&quot;:-1.0,&quot;Top&quot;:-1.0,&quot;Rotation&quot;:-1.0,&quot;CanManageSize&quot;:false,&quot;Width&quot;:-1.0,&quot;Height&quot;:-1.0,&quot;TextFrame2AutoSize&quot;:0,&quot;TextFrame2TextRangeFontName&quot;:&quot;&quot;,&quot;TextFrameMarginTop&quot;:0.0,&quot;TextFrameMarginLeft&quot;:0.0,&quot;TextFrameMarginRight&quot;:0.0,&quot;TextFrameMarginBottom&quot;:0.0,&quot;TextFrameWordWrap&quot;:-1,&quot;TextFrameTextRangeFontSize&quot;:18.0,&quot;TextFrameTextRangeFontColorHexa&quot;:&quot;#000000&quot;,&quot;TextFrameTextRangeFontHighlightColorHexa&quot;:&quot;&quot;,&quot;TextFrameTextRangeFontBold&quot;:0,&quot;TextFrameTextRangeFontItalic&quot;:0,&quot;TextFrameTextRangeFontUnderline&quot;:0,&quot;TextFrameVerticalAnchor&quot;:3,&quot;TextFrameHorizontalAnchor&quot;:1,&quot;TextFrameTextRangeParagraphFormatBulletType&quot;:0,&quot;TextFrameTextRangeParagraphFormatBulletRelativeSize&quot;:-3.40282347E+38,&quot;TextFrameTextRangeParagraphFormatBulletCharacter&quot;:-2147483648,&quot;TextFrameTextRangeParagraphFormatBulletFontName&quot;:&quot;&quot;,&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CanChangeZOrderPosition&quot;:true,&quot;FillVisible&quot;:-1,&quot;FillForeColorHexa&quot;:&quot;#000000&quot;,&quot;FillTransparency&quot;:0.0,&quot;LineVisible&quot;:-1,&quot;LineForeColorHexa&quot;:null,&quot;LineWeight&quot;:0.0,&quot;LineDashStyle&quot;:1,&quot;LineEndArrowheadStyle&quot;:1,&quot;LineBeginArrowheadStyle&quot;:1,&quot;ShouldSendToBack&quot;:true,&quot;NeedsApplyToAll&quot;:false}},&quot;Number&quot;:{&quot;Active&quot;:{&quot;AutoShapeType&quot;:1,&quot;CalloutType&quot;:1,&quot;CalloutAngle&quot;:2,&quot;CalloutGap&quot;:-3.40282347E+38,&quot;Visible&quot;:-1,&quot;LockAspectRatio&quot;:0,&quot;CanUpdateAdjustments&quot;:true,&quot;Adjustment1&quot;:-1.0,&quot;Adjustment2&quot;:-1.0,&quot;Adjustment3&quot;:-1.0,&quot;Adjustment4&quot;:-1.0,&quot;CanManagePosition&quot;:false,&quot;Left&quot;:-1.0,&quot;Top&quot;:-1.0,&quot;Rotation&quot;:-1.0,&quot;CanManageSize&quot;:false,&quot;Width&quot;:-1.0,&quot;Height&quot;:-1.0,&quot;TextFrame2AutoSize&quot;:0,&quot;TextFrame2TextRangeFontName&quot;:&quot;&quot;,&quot;TextFrameMarginTop&quot;:0.0,&quot;TextFrameMarginLeft&quot;:0.0,&quot;TextFrameMarginRight&quot;:0.0,&quot;TextFrameMarginBottom&quot;:0.0,&quot;TextFrameWordWrap&quot;:0,&quot;TextFrameTextRangeFontSize&quot;:18.0,&quot;TextFrameTextRangeFontColorHexa&quot;:&quot;#FFFFFF&quot;,&quot;TextFrameTextRangeFontHighlightColorHexa&quot;:&quot;&quot;,&quot;TextFrameTextRangeFontBold&quot;:-1,&quot;TextFrameTextRangeFontItalic&quot;:0,&quot;TextFrameTextRangeFontUnderline&quot;:0,&quot;TextFrameVerticalAnchor&quot;:3,&quot;TextFrameHorizontalAnchor&quot;:1,&quot;TextFrameTextRangeParagraphFormatBulletType&quot;:0,&quot;TextFrameTextRangeParagraphFormatBulletRelativeSize&quot;:-3.40282347E+38,&quot;TextFrameTextRangeParagraphFormatBulletCharacter&quot;:-2147483648,&quot;TextFrameTextRangeParagraphFormatBulletFontName&quot;:&quot;&quot;,&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CanChangeZOrderPosition&quot;:true,&quot;FillVisible&quot;:-1,&quot;FillForeColorHexa&quot;:&quot;#C5B4E3&quot;,&quot;FillTransparency&quot;:0.0,&quot;LineVisible&quot;:0,&quot;LineForeColorHexa&quot;:null,&quot;LineWeight&quot;:0.0,&quot;LineDashStyle&quot;:1,&quot;LineEndArrowheadStyle&quot;:1,&quot;LineBeginArrowheadStyle&quot;:1,&quot;ShouldSendToBack&quot;:false,&quot;NeedsApplyToAll&quot;:false},&quot;Inactive&quot;:{&quot;AutoShapeType&quot;:1,&quot;CalloutType&quot;:1,&quot;CalloutAngle&quot;:2,&quot;CalloutGap&quot;:-3.40282347E+38,&quot;Visible&quot;:-1,&quot;LockAspectRatio&quot;:0,&quot;CanUpdateAdjustments&quot;:true,&quot;Adjustment1&quot;:-1.0,&quot;Adjustment2&quot;:-1.0,&quot;Adjustment3&quot;:-1.0,&quot;Adjustment4&quot;:-1.0,&quot;CanManagePosition&quot;:false,&quot;Left&quot;:-1.0,&quot;Top&quot;:-1.0,&quot;Rotation&quot;:-1.0,&quot;CanManageSize&quot;:false,&quot;Width&quot;:-1.0,&quot;Height&quot;:-1.0,&quot;TextFrame2AutoSize&quot;:0,&quot;TextFrame2TextRangeFontName&quot;:&quot;&quot;,&quot;TextFrameMarginTop&quot;:0.0,&quot;TextFrameMarginLeft&quot;:0.0,&quot;TextFrameMarginRight&quot;:0.0,&quot;TextFrameMarginBottom&quot;:0.0,&quot;TextFrameWordWrap&quot;:0,&quot;TextFrameTextRangeFontSize&quot;:18.0,&quot;TextFrameTextRangeFontColorHexa&quot;:&quot;#FFFFFF&quot;,&quot;TextFrameTextRangeFontHighlightColorHexa&quot;:&quot;&quot;,&quot;TextFrameTextRangeFontBold&quot;:-1,&quot;TextFrameTextRangeFontItalic&quot;:0,&quot;TextFrameTextRangeFontUnderline&quot;:0,&quot;TextFrameVerticalAnchor&quot;:3,&quot;TextFrameHorizontalAnchor&quot;:1,&quot;TextFrameTextRangeParagraphFormatBulletType&quot;:0,&quot;TextFrameTextRangeParagraphFormatBulletRelativeSize&quot;:-3.40282347E+38,&quot;TextFrameTextRangeParagraphFormatBulletCharacter&quot;:-2147483648,&quot;TextFrameTextRangeParagraphFormatBulletFontName&quot;:&quot;&quot;,&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CanChangeZOrderPosition&quot;:true,&quot;FillVisible&quot;:-1,&quot;FillForeColorHexa&quot;:&quot;#D9D9D9&quot;,&quot;FillTransparency&quot;:0.0,&quot;LineVisible&quot;:0,&quot;LineForeColorHexa&quot;:null,&quot;LineWeight&quot;:0.0,&quot;LineDashStyle&quot;:1,&quot;LineEndArrowheadStyle&quot;:1,&quot;LineBeginArrowheadStyle&quot;:1,&quot;ShouldSendToBack&quot;:false,&quot;NeedsApplyToAll&quot;:false},&quot;CoverPage&quot;:{&quot;AutoShapeType&quot;:1,&quot;CalloutType&quot;:1,&quot;CalloutAngle&quot;:2,&quot;CalloutGap&quot;:-3.40282347E+38,&quot;Visible&quot;:-1,&quot;LockAspectRatio&quot;:0,&quot;CanUpdateAdjustments&quot;:true,&quot;Adjustment1&quot;:-1.0,&quot;Adjustment2&quot;:-1.0,&quot;Adjustment3&quot;:-1.0,&quot;Adjustment4&quot;:-1.0,&quot;CanManagePosition&quot;:false,&quot;Left&quot;:-1.0,&quot;Top&quot;:-1.0,&quot;Rotation&quot;:-1.0,&quot;CanManageSize&quot;:false,&quot;Width&quot;:-1.0,&quot;Height&quot;:-1.0,&quot;TextFrame2AutoSize&quot;:0,&quot;TextFrame2TextRangeFontName&quot;:&quot;&quot;,&quot;TextFrameMarginTop&quot;:0.0,&quot;TextFrameMarginLeft&quot;:0.0,&quot;TextFrameMarginRight&quot;:0.0,&quot;TextFrameMarginBottom&quot;:0.0,&quot;TextFrameWordWrap&quot;:0,&quot;TextFrameTextRangeFontSize&quot;:18.0,&quot;TextFrameTextRangeFontColorHexa&quot;:&quot;#FFFFFF&quot;,&quot;TextFrameTextRangeFontHighlightColorHexa&quot;:&quot;&quot;,&quot;TextFrameTextRangeFontBold&quot;:-1,&quot;TextFrameTextRangeFontItalic&quot;:0,&quot;TextFrameTextRangeFontUnderline&quot;:0,&quot;TextFrameVerticalAnchor&quot;:3,&quot;TextFrameHorizontalAnchor&quot;:1,&quot;TextFrameTextRangeParagraphFormatBulletType&quot;:0,&quot;TextFrameTextRangeParagraphFormatBulletRelativeSize&quot;:-3.40282347E+38,&quot;TextFrameTextRangeParagraphFormatBulletCharacter&quot;:-2147483648,&quot;TextFrameTextRangeParagraphFormatBulletFontName&quot;:&quot;&quot;,&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CanChangeZOrderPosition&quot;:true,&quot;FillVisible&quot;:-1,&quot;FillForeColorHexa&quot;:&quot;#C5B4E3&quot;,&quot;FillTransparency&quot;:0.0,&quot;LineVisible&quot;:0,&quot;LineForeColorHexa&quot;:null,&quot;LineWeight&quot;:0.0,&quot;LineDashStyle&quot;:1,&quot;LineEndArrowheadStyle&quot;:1,&quot;LineBeginArrowheadStyle&quot;:1,&quot;ShouldSendToBack&quot;:false,&quot;NeedsApplyToAll&quot;:false}},&quot;SlideIndex&quot;:{&quot;Active&quot;:{&quot;AutoShapeType&quot;:1,&quot;CalloutType&quot;:1,&quot;CalloutAngle&quot;:2,&quot;CalloutGap&quot;:-3.40282347E+38,&quot;Visible&quot;:-1,&quot;LockAspectRatio&quot;:0,&quot;CanUpdateAdjustments&quot;:true,&quot;Adjustment1&quot;:-1.0,&quot;Adjustment2&quot;:-1.0,&quot;Adjustment3&quot;:-1.0,&quot;Adjustment4&quot;:-1.0,&quot;CanManagePosition&quot;:false,&quot;Left&quot;:-1.0,&quot;Top&quot;:-1.0,&quot;Rotation&quot;:-1.0,&quot;CanManageSize&quot;:false,&quot;Width&quot;:-1.0,&quot;Height&quot;:-1.0,&quot;TextFrame2AutoSize&quot;:0,&quot;TextFrame2TextRangeFontName&quot;:&quot;&quot;,&quot;TextFrameMarginTop&quot;:0.0,&quot;TextFrameMarginLeft&quot;:0.0,&quot;TextFrameMarginRight&quot;:0.0,&quot;TextFrameMarginBottom&quot;:0.0,&quot;TextFrameWordWrap&quot;:0,&quot;TextFrameTextRangeFontSize&quot;:18.0,&quot;TextFrameTextRangeFontColorHexa&quot;:&quot;#FFFFFF&quot;,&quot;TextFrameTextRangeFontHighlightColorHexa&quot;:&quot;&quot;,&quot;TextFrameTextRangeFontBold&quot;:0,&quot;TextFrameTextRangeFontItalic&quot;:0,&quot;TextFrameTextRangeFontUnderline&quot;:0,&quot;TextFrameVerticalAnchor&quot;:3,&quot;TextFrameHorizontalAnchor&quot;:1,&quot;TextFrameTextRangeParagraphFormatBulletType&quot;:0,&quot;TextFrameTextRangeParagraphFormatBulletRelativeSize&quot;:-3.40282347E+38,&quot;TextFrameTextRangeParagraphFormatBulletCharacter&quot;:-2147483648,&quot;TextFrameTextRangeParagraphFormatBulletFontName&quot;:&quot;&quot;,&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CanChangeZOrderPosition&quot;:true,&quot;FillVisible&quot;:0,&quot;FillForeColorHexa&quot;:&quot;#000000&quot;,&quot;FillTransparency&quot;:0.0,&quot;LineVisible&quot;:0,&quot;LineForeColorHexa&quot;:null,&quot;LineWeight&quot;:0.0,&quot;LineDashStyle&quot;:1,&quot;LineEndArrowheadStyle&quot;:1,&quot;LineBeginArrowheadStyle&quot;:1,&quot;ShouldSendToBack&quot;:false,&quot;NeedsApplyToAll&quot;:false},&quot;Inactive&quot;:{&quot;AutoShapeType&quot;:1,&quot;CalloutType&quot;:1,&quot;CalloutAngle&quot;:2,&quot;CalloutGap&quot;:-3.40282347E+38,&quot;Visible&quot;:-1,&quot;LockAspectRatio&quot;:0,&quot;CanUpdateAdjustments&quot;:true,&quot;Adjustment1&quot;:-1.0,&quot;Adjustment2&quot;:-1.0,&quot;Adjustment3&quot;:-1.0,&quot;Adjustment4&quot;:-1.0,&quot;CanManagePosition&quot;:false,&quot;Left&quot;:-1.0,&quot;Top&quot;:-1.0,&quot;Rotation&quot;:-1.0,&quot;CanManageSize&quot;:false,&quot;Width&quot;:-1.0,&quot;Height&quot;:-1.0,&quot;TextFrame2AutoSize&quot;:0,&quot;TextFrame2TextRangeFontName&quot;:&quot;&quot;,&quot;TextFrameMarginTop&quot;:0.0,&quot;TextFrameMarginLeft&quot;:0.0,&quot;TextFrameMarginRight&quot;:0.0,&quot;TextFrameMarginBottom&quot;:0.0,&quot;TextFrameWordWrap&quot;:0,&quot;TextFrameTextRangeFontSize&quot;:18.0,&quot;TextFrameTextRangeFontColorHexa&quot;:&quot;#000000&quot;,&quot;TextFrameTextRangeFontHighlightColorHexa&quot;:&quot;&quot;,&quot;TextFrameTextRangeFontBold&quot;:0,&quot;TextFrameTextRangeFontItalic&quot;:0,&quot;TextFrameTextRangeFontUnderline&quot;:0,&quot;TextFrameVerticalAnchor&quot;:3,&quot;TextFrameHorizontalAnchor&quot;:1,&quot;TextFrameTextRangeParagraphFormatBulletType&quot;:0,&quot;TextFrameTextRangeParagraphFormatBulletRelativeSize&quot;:-3.40282347E+38,&quot;TextFrameTextRangeParagraphFormatBulletCharacter&quot;:-2147483648,&quot;TextFrameTextRangeParagraphFormatBulletFontName&quot;:&quot;&quot;,&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CanChangeZOrderPosition&quot;:true,&quot;FillVisible&quot;:0,&quot;FillForeColorHexa&quot;:&quot;#000000&quot;,&quot;FillTransparency&quot;:1.0,&quot;LineVisible&quot;:0,&quot;LineForeColorHexa&quot;:null,&quot;LineWeight&quot;:0.0,&quot;LineDashStyle&quot;:1,&quot;LineEndArrowheadStyle&quot;:1,&quot;LineBeginArrowheadStyle&quot;:1,&quot;ShouldSendToBack&quot;:false,&quot;NeedsApplyToAll&quot;:false},&quot;CoverPage&quot;:{&quot;AutoShapeType&quot;:1,&quot;CalloutType&quot;:1,&quot;CalloutAngle&quot;:2,&quot;CalloutGap&quot;:-3.40282347E+38,&quot;Visible&quot;:-1,&quot;LockAspectRatio&quot;:0,&quot;CanUpdateAdjustments&quot;:true,&quot;Adjustment1&quot;:-1.0,&quot;Adjustment2&quot;:-1.0,&quot;Adjustment3&quot;:-1.0,&quot;Adjustment4&quot;:-1.0,&quot;CanManagePosition&quot;:false,&quot;Left&quot;:-1.0,&quot;Top&quot;:-1.0,&quot;Rotation&quot;:-1.0,&quot;CanManageSize&quot;:false,&quot;Width&quot;:-1.0,&quot;Height&quot;:-1.0,&quot;TextFrame2AutoSize&quot;:0,&quot;TextFrame2TextRangeFontName&quot;:&quot;&quot;,&quot;TextFrameMarginTop&quot;:0.0,&quot;TextFrameMarginLeft&quot;:0.0,&quot;TextFrameMarginRight&quot;:0.0,&quot;TextFrameMarginBottom&quot;:0.0,&quot;TextFrameWordWrap&quot;:0,&quot;TextFrameTextRangeFontSize&quot;:18.0,&quot;TextFrameTextRangeFontColorHexa&quot;:&quot;#000000&quot;,&quot;TextFrameTextRangeFontHighlightColorHexa&quot;:&quot;&quot;,&quot;TextFrameTextRangeFontBold&quot;:0,&quot;TextFrameTextRangeFontItalic&quot;:0,&quot;TextFrameTextRangeFontUnderline&quot;:0,&quot;TextFrameVerticalAnchor&quot;:3,&quot;TextFrameHorizontalAnchor&quot;:1,&quot;TextFrameTextRangeParagraphFormatBulletType&quot;:0,&quot;TextFrameTextRangeParagraphFormatBulletRelativeSize&quot;:-3.40282347E+38,&quot;TextFrameTextRangeParagraphFormatBulletCharacter&quot;:-2147483648,&quot;TextFrameTextRangeParagraphFormatBulletFontName&quot;:&quot;&quot;,&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CanChangeZOrderPosition&quot;:true,&quot;FillVisible&quot;:0,&quot;FillForeColorHexa&quot;:&quot;#000000&quot;,&quot;FillTransparency&quot;:1.0,&quot;LineVisible&quot;:0,&quot;LineForeColorHexa&quot;:null,&quot;LineWeight&quot;:0.0,&quot;LineDashStyle&quot;:1,&quot;LineEndArrowheadStyle&quot;:1,&quot;LineBeginArrowheadStyle&quot;:1,&quot;ShouldSendToBack&quot;:false,&quot;NeedsApplyToAll&quot;:false}},&quot;FontSizeShapeRatio&quot;:1.4},&quot;TableOfContent3&quot;:{&quot;MarginLeft&quot;:76.8,&quot;MarginRight&quot;:76.8,&quot;MarginTop&quot;:86.4,&quot;MarginBottom&quot;:21.6,&quot;ShouldVerticalCenter&quot;:true,&quot;Title&quot;:{&quot;AutoShapeType&quot;:1,&quot;CalloutType&quot;:1,&quot;CalloutAngle&quot;:2,&quot;CalloutGap&quot;:-3.40282347E+38,&quot;Visible&quot;:-1,&quot;LockAspectRatio&quot;:0,&quot;CanUpdateAdjustments&quot;:true,&quot;Adjustment1&quot;:-1.0,&quot;Adjustment2&quot;:-1.0,&quot;Adjustment3&quot;:-1.0,&quot;Adjustment4&quot;:-1.0,&quot;CanManagePosition&quot;:true,&quot;Left&quot;:76.8,&quot;Top&quot;:54.0,&quot;Rotation&quot;:0.0,&quot;CanManageSize&quot;:true,&quot;Width&quot;:768.0,&quot;Height&quot;:30.0,&quot;TextFrame2AutoSize&quot;:0,&quot;TextFrame2TextRangeFontName&quot;:&quot;&quot;,&quot;TextFrameMarginTop&quot;:0.0,&quot;TextFrameMarginLeft&quot;:0.0,&quot;TextFrameMarginRight&quot;:0.0,&quot;TextFrameMarginBottom&quot;:0.0,&quot;TextFrameWordWrap&quot;:-1,&quot;TextFrameTextRangeFontSize&quot;:32.0,&quot;TextFrameTextRangeFontColorHexa&quot;:&quot;#000000&quot;,&quot;TextFrameTextRangeFontHighlightColorHexa&quot;:&quot;&quot;,&quot;TextFrameTextRangeFontBold&quot;:0,&quot;TextFrameTextRangeFontItalic&quot;:0,&quot;TextFrameTextRangeFontUnderline&quot;:0,&quot;TextFrameVerticalAnchor&quot;:3,&quot;TextFrameHorizontalAnchor&quot;:1,&quot;TextFrameTextRangeParagraphFormatBulletType&quot;:0,&quot;TextFrameTextRangeParagraphFormatBulletRelativeSize&quot;:-3.40282347E+38,&quot;TextFrameTextRangeParagraphFormatBulletCharacter&quot;:-2147483648,&quot;TextFrameTextRangeParagraphFormatBulletFontName&quot;:&quot;&quot;,&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1,&quot;ZOrderPosition&quot;:-2147483648,&quot;CanChangeZOrderPosition&quot;:true,&quot;FillVisible&quot;:0,&quot;FillForeColorHexa&quot;:&quot;#000000&quot;,&quot;FillTransparency&quot;:1.0,&quot;LineVisible&quot;:0,&quot;LineForeColorHexa&quot;:null,&quot;LineWeight&quot;:0.0,&quot;LineDashStyle&quot;:1,&quot;LineEndArrowheadStyle&quot;:1,&quot;LineBeginArrowheadStyle&quot;:1,&quot;ShouldSendToBack&quot;:false,&quot;NeedsApplyToAll&quot;:true},&quot;SectionTitle&quot;:{&quot;Active&quot;:{&quot;AutoShapeType&quot;:1,&quot;CalloutType&quot;:1,&quot;CalloutAngle&quot;:2,&quot;CalloutGap&quot;:-3.40282347E+38,&quot;Visible&quot;:-1,&quot;LockAspectRatio&quot;:0,&quot;CanUpdateAdjustments&quot;:true,&quot;Adjustment1&quot;:-1.0,&quot;Adjustment2&quot;:-1.0,&quot;Adjustment3&quot;:-1.0,&quot;Adjustment4&quot;:-1.0,&quot;CanManagePosition&quot;:false,&quot;Left&quot;:-1.0,&quot;Top&quot;:-1.0,&quot;Rotation&quot;:-1.0,&quot;CanManageSize&quot;:false,&quot;Width&quot;:-1.0,&quot;Height&quot;:-1.0,&quot;TextFrame2AutoSize&quot;:0,&quot;TextFrame2TextRangeFontName&quot;:&quot;&quot;,&quot;TextFrameMarginTop&quot;:0.0,&quot;TextFrameMarginLeft&quot;:7.0,&quot;TextFrameMarginRight&quot;:0.0,&quot;TextFrameMarginBottom&quot;:0.0,&quot;TextFrameWordWrap&quot;:-1,&quot;TextFrameTextRangeFontSize&quot;:18.0,&quot;TextFrameTextRangeFontColorHexa&quot;:&quot;#000000&quot;,&quot;TextFrameTextRangeFontHighlightColorHexa&quot;:&quot;&quot;,&quot;TextFrameTextRangeFontBold&quot;:0,&quot;TextFrameTextRangeFontItalic&quot;:0,&quot;TextFrameTextRangeFontUnderline&quot;:0,&quot;TextFrameVerticalAnchor&quot;:3,&quot;TextFrameHorizontalAnchor&quot;:1,&quot;TextFrameTextRangeParagraphFormatBulletType&quot;:0,&quot;TextFrameTextRangeParagraphFormatBulletRelativeSize&quot;:-3.40282347E+38,&quot;TextFrameTextRangeParagraphFormatBulletCharacter&quot;:-2147483648,&quot;TextFrameTextRangeParagraphFormatBulletFontName&quot;:&quot;&quot;,&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1,&quot;ZOrderPosition&quot;:-2147483648,&quot;CanChangeZOrderPosition&quot;:true,&quot;FillVisible&quot;:0,&quot;FillForeColorHexa&quot;:&quot;#000000&quot;,&quot;FillTransparency&quot;:1.0,&quot;LineVisible&quot;:0,&quot;LineForeColorHexa&quot;:null,&quot;LineWeight&quot;:0.0,&quot;LineDashStyle&quot;:1,&quot;LineEndArrowheadStyle&quot;:1,&quot;LineBeginArrowheadStyle&quot;:1,&quot;ShouldSendToBack&quot;:false,&quot;NeedsApplyToAll&quot;:false},&quot;Inactive&quot;:{&quot;AutoShapeType&quot;:1,&quot;CalloutType&quot;:1,&quot;CalloutAngle&quot;:2,&quot;CalloutGap&quot;:-3.40282347E+38,&quot;Visible&quot;:-1,&quot;LockAspectRatio&quot;:0,&quot;CanUpdateAdjustments&quot;:true,&quot;Adjustment1&quot;:-1.0,&quot;Adjustment2&quot;:-1.0,&quot;Adjustment3&quot;:-1.0,&quot;Adjustment4&quot;:-1.0,&quot;CanManagePosition&quot;:false,&quot;Left&quot;:-1.0,&quot;Top&quot;:-1.0,&quot;Rotation&quot;:-1.0,&quot;CanManageSize&quot;:false,&quot;Width&quot;:-1.0,&quot;Height&quot;:-1.0,&quot;TextFrame2AutoSize&quot;:0,&quot;TextFrame2TextRangeFontName&quot;:&quot;&quot;,&quot;TextFrameMarginTop&quot;:0.0,&quot;TextFrameMarginLeft&quot;:7.0,&quot;TextFrameMarginRight&quot;:0.0,&quot;TextFrameMarginBottom&quot;:0.0,&quot;TextFrameWordWrap&quot;:-1,&quot;TextFrameTextRangeFontSize&quot;:18.0,&quot;TextFrameTextRangeFontColorHexa&quot;:&quot;#000000&quot;,&quot;TextFrameTextRangeFontHighlightColorHexa&quot;:&quot;&quot;,&quot;TextFrameTextRangeFontBold&quot;:0,&quot;TextFrameTextRangeFontItalic&quot;:0,&quot;TextFrameTextRangeFontUnderline&quot;:0,&quot;TextFrameVerticalAnchor&quot;:3,&quot;TextFrameHorizontalAnchor&quot;:1,&quot;TextFrameTextRangeParagraphFormatBulletType&quot;:0,&quot;TextFrameTextRangeParagraphFormatBulletRelativeSize&quot;:-3.40282347E+38,&quot;TextFrameTextRangeParagraphFormatBulletCharacter&quot;:-2147483648,&quot;TextFrameTextRangeParagraphFormatBulletFontName&quot;:&quot;&quot;,&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1,&quot;ZOrderPosition&quot;:-2147483648,&quot;CanChangeZOrderPosition&quot;:true,&quot;FillVisible&quot;:0,&quot;FillForeColorHexa&quot;:&quot;#000000&quot;,&quot;FillTransparency&quot;:1.0,&quot;LineVisible&quot;:0,&quot;LineForeColorHexa&quot;:null,&quot;LineWeight&quot;:0.0,&quot;LineDashStyle&quot;:1,&quot;LineEndArrowheadStyle&quot;:1,&quot;LineBeginArrowheadStyle&quot;:1,&quot;ShouldSendToBack&quot;:false,&quot;NeedsApplyToAll&quot;:false},&quot;CoverPage&quot;:{&quot;AutoShapeType&quot;:1,&quot;CalloutType&quot;:1,&quot;CalloutAngle&quot;:2,&quot;CalloutGap&quot;:-3.40282347E+38,&quot;Visible&quot;:-1,&quot;LockAspectRatio&quot;:0,&quot;CanUpdateAdjustments&quot;:true,&quot;Adjustment1&quot;:-1.0,&quot;Adjustment2&quot;:-1.0,&quot;Adjustment3&quot;:-1.0,&quot;Adjustment4&quot;:-1.0,&quot;CanManagePosition&quot;:false,&quot;Left&quot;:-1.0,&quot;Top&quot;:-1.0,&quot;Rotation&quot;:-1.0,&quot;CanManageSize&quot;:false,&quot;Width&quot;:-1.0,&quot;Height&quot;:-1.0,&quot;TextFrame2AutoSize&quot;:0,&quot;TextFrame2TextRangeFontName&quot;:&quot;&quot;,&quot;TextFrameMarginTop&quot;:0.0,&quot;TextFrameMarginLeft&quot;:7.0,&quot;TextFrameMarginRight&quot;:0.0,&quot;TextFrameMarginBottom&quot;:0.0,&quot;TextFrameWordWrap&quot;:-1,&quot;TextFrameTextRangeFontSize&quot;:18.0,&quot;TextFrameTextRangeFontColorHexa&quot;:&quot;#000000&quot;,&quot;TextFrameTextRangeFontHighlightColorHexa&quot;:&quot;&quot;,&quot;TextFrameTextRangeFontBold&quot;:0,&quot;TextFrameTextRangeFontItalic&quot;:0,&quot;TextFrameTextRangeFontUnderline&quot;:0,&quot;TextFrameVerticalAnchor&quot;:3,&quot;TextFrameHorizontalAnchor&quot;:1,&quot;TextFrameTextRangeParagraphFormatBulletType&quot;:0,&quot;TextFrameTextRangeParagraphFormatBulletRelativeSize&quot;:-3.40282347E+38,&quot;TextFrameTextRangeParagraphFormatBulletCharacter&quot;:-2147483648,&quot;TextFrameTextRangeParagraphFormatBulletFontName&quot;:&quot;&quot;,&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1,&quot;ZOrderPosition&quot;:-2147483648,&quot;CanChangeZOrderPosition&quot;:true,&quot;FillVisible&quot;:0,&quot;FillForeColorHexa&quot;:&quot;#000000&quot;,&quot;FillTransparency&quot;:1.0,&quot;LineVisible&quot;:0,&quot;LineForeColorHexa&quot;:null,&quot;LineWeight&quot;:0.0,&quot;LineDashStyle&quot;:1,&quot;LineEndArrowheadStyle&quot;:1,&quot;LineBeginArrowheadStyle&quot;:1,&quot;ShouldSendToBack&quot;:false,&quot;NeedsApplyToAll&quot;:false}},&quot;Number&quot;:{&quot;Active&quot;:{&quot;AutoShapeType&quot;:9,&quot;CalloutType&quot;:1,&quot;CalloutAngle&quot;:2,&quot;CalloutGap&quot;:-3.40282347E+38,&quot;Visible&quot;:-1,&quot;LockAspectRatio&quot;:0,&quot;CanUpdateAdjustments&quot;:true,&quot;Adjustment1&quot;:-1.0,&quot;Adjustment2&quot;:-1.0,&quot;Adjustment3&quot;:-1.0,&quot;Adjustment4&quot;:-1.0,&quot;CanManagePosition&quot;:false,&quot;Left&quot;:-1.0,&quot;Top&quot;:-1.0,&quot;Rotation&quot;:-1.0,&quot;CanManageSize&quot;:false,&quot;Width&quot;:-1.0,&quot;Height&quot;:-1.0,&quot;TextFrame2AutoSize&quot;:0,&quot;TextFrame2TextRangeFontName&quot;:&quot;&quot;,&quot;TextFrameMarginTop&quot;:0.0,&quot;TextFrameMarginLeft&quot;:0.0,&quot;TextFrameMarginRight&quot;:0.0,&quot;TextFrameMarginBottom&quot;:0.0,&quot;TextFrameWordWrap&quot;:0,&quot;TextFrameTextRangeFontSize&quot;:18.0,&quot;TextFrameTextRangeFontColorHexa&quot;:&quot;#FFFFFF&quot;,&quot;TextFrameTextRangeFontHighlightColorHexa&quot;:&quot;&quot;,&quot;TextFrameTextRangeFontBold&quot;:-1,&quot;TextFrameTextRangeFontItalic&quot;:0,&quot;TextFrameTextRangeFontUnderline&quot;:0,&quot;TextFrameVerticalAnchor&quot;:3,&quot;TextFrameHorizontalAnchor&quot;:1,&quot;TextFrameTextRangeParagraphFormatBulletType&quot;:0,&quot;TextFrameTextRangeParagraphFormatBulletRelativeSize&quot;:-3.40282347E+38,&quot;TextFrameTextRangeParagraphFormatBulletCharacter&quot;:-2147483648,&quot;TextFrameTextRangeParagraphFormatBulletFontName&quot;:&quot;&quot;,&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CanChangeZOrderPosition&quot;:true,&quot;FillVisible&quot;:-1,&quot;FillForeColorHexa&quot;:&quot;#C5B4E3&quot;,&quot;FillTransparency&quot;:0.0,&quot;LineVisible&quot;:-1,&quot;LineForeColorHexa&quot;:&quot;#C5B4E3&quot;,&quot;LineWeight&quot;:2.0,&quot;LineDashStyle&quot;:1,&quot;LineEndArrowheadStyle&quot;:1,&quot;LineBeginArrowheadStyle&quot;:1,&quot;ShouldSendToBack&quot;:false,&quot;NeedsApplyToAll&quot;:false},&quot;Inactive&quot;:{&quot;AutoShapeType&quot;:9,&quot;CalloutType&quot;:1,&quot;CalloutAngle&quot;:2,&quot;CalloutGap&quot;:-3.40282347E+38,&quot;Visible&quot;:-1,&quot;LockAspectRatio&quot;:0,&quot;CanUpdateAdjustments&quot;:true,&quot;Adjustment1&quot;:-1.0,&quot;Adjustment2&quot;:-1.0,&quot;Adjustment3&quot;:-1.0,&quot;Adjustment4&quot;:-1.0,&quot;CanManagePosition&quot;:false,&quot;Left&quot;:-1.0,&quot;Top&quot;:-1.0,&quot;Rotation&quot;:-1.0,&quot;CanManageSize&quot;:false,&quot;Width&quot;:-1.0,&quot;Height&quot;:-1.0,&quot;TextFrame2AutoSize&quot;:0,&quot;TextFrame2TextRangeFontName&quot;:&quot;&quot;,&quot;TextFrameMarginTop&quot;:0.0,&quot;TextFrameMarginLeft&quot;:0.0,&quot;TextFrameMarginRight&quot;:0.0,&quot;TextFrameMarginBottom&quot;:0.0,&quot;TextFrameWordWrap&quot;:0,&quot;TextFrameTextRangeFontSize&quot;:18.0,&quot;TextFrameTextRangeFontColorHexa&quot;:&quot;#C5B4E3&quot;,&quot;TextFrameTextRangeFontHighlightColorHexa&quot;:&quot;&quot;,&quot;TextFrameTextRangeFontBold&quot;:-1,&quot;TextFrameTextRangeFontItalic&quot;:0,&quot;TextFrameTextRangeFontUnderline&quot;:0,&quot;TextFrameVerticalAnchor&quot;:3,&quot;TextFrameHorizontalAnchor&quot;:1,&quot;TextFrameTextRangeParagraphFormatBulletType&quot;:0,&quot;TextFrameTextRangeParagraphFormatBulletRelativeSize&quot;:-3.40282347E+38,&quot;TextFrameTextRangeParagraphFormatBulletCharacter&quot;:-2147483648,&quot;TextFrameTextRangeParagraphFormatBulletFontName&quot;:&quot;&quot;,&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CanChangeZOrderPosition&quot;:true,&quot;FillVisible&quot;:-1,&quot;FillForeColorHexa&quot;:&quot;#FFFFFF&quot;,&quot;FillTransparency&quot;:0.0,&quot;LineVisible&quot;:-1,&quot;LineForeColorHexa&quot;:&quot;#C5B4E3&quot;,&quot;LineWeight&quot;:2.0,&quot;LineDashStyle&quot;:1,&quot;LineEndArrowheadStyle&quot;:1,&quot;LineBeginArrowheadStyle&quot;:1,&quot;ShouldSendToBack&quot;:false,&quot;NeedsApplyToAll&quot;:false},&quot;CoverPage&quot;:{&quot;AutoShapeType&quot;:9,&quot;CalloutType&quot;:1,&quot;CalloutAngle&quot;:2,&quot;CalloutGap&quot;:-3.40282347E+38,&quot;Visible&quot;:-1,&quot;LockAspectRatio&quot;:0,&quot;CanUpdateAdjustments&quot;:true,&quot;Adjustment1&quot;:-1.0,&quot;Adjustment2&quot;:-1.0,&quot;Adjustment3&quot;:-1.0,&quot;Adjustment4&quot;:-1.0,&quot;CanManagePosition&quot;:false,&quot;Left&quot;:-1.0,&quot;Top&quot;:-1.0,&quot;Rotation&quot;:-1.0,&quot;CanManageSize&quot;:false,&quot;Width&quot;:-1.0,&quot;Height&quot;:-1.0,&quot;TextFrame2AutoSize&quot;:0,&quot;TextFrame2TextRangeFontName&quot;:&quot;&quot;,&quot;TextFrameMarginTop&quot;:0.0,&quot;TextFrameMarginLeft&quot;:0.0,&quot;TextFrameMarginRight&quot;:0.0,&quot;TextFrameMarginBottom&quot;:0.0,&quot;TextFrameWordWrap&quot;:0,&quot;TextFrameTextRangeFontSize&quot;:18.0,&quot;TextFrameTextRangeFontColorHexa&quot;:&quot;#FFFFFF&quot;,&quot;TextFrameTextRangeFontHighlightColorHexa&quot;:&quot;&quot;,&quot;TextFrameTextRangeFontBold&quot;:-1,&quot;TextFrameTextRangeFontItalic&quot;:0,&quot;TextFrameTextRangeFontUnderline&quot;:0,&quot;TextFrameVerticalAnchor&quot;:3,&quot;TextFrameHorizontalAnchor&quot;:1,&quot;TextFrameTextRangeParagraphFormatBulletType&quot;:0,&quot;TextFrameTextRangeParagraphFormatBulletRelativeSize&quot;:-3.40282347E+38,&quot;TextFrameTextRangeParagraphFormatBulletCharacter&quot;:-2147483648,&quot;TextFrameTextRangeParagraphFormatBulletFontName&quot;:&quot;&quot;,&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CanChangeZOrderPosition&quot;:true,&quot;FillVisible&quot;:-1,&quot;FillForeColorHexa&quot;:&quot;#C5B4E3&quot;,&quot;FillTransparency&quot;:0.0,&quot;LineVisible&quot;:-1,&quot;LineForeColorHexa&quot;:&quot;#C5B4E3&quot;,&quot;LineWeight&quot;:2.0,&quot;LineDashStyle&quot;:1,&quot;LineEndArrowheadStyle&quot;:1,&quot;LineBeginArrowheadStyle&quot;:1,&quot;ShouldSendToBack&quot;:false,&quot;NeedsApplyToAll&quot;:false}},&quot;SlideIndex&quot;:{&quot;Active&quot;:{&quot;AutoShapeType&quot;:1,&quot;CalloutType&quot;:1,&quot;CalloutAngle&quot;:2,&quot;CalloutGap&quot;:-3.40282347E+38,&quot;Visible&quot;:-1,&quot;LockAspectRatio&quot;:0,&quot;CanUpdateAdjustments&quot;:true,&quot;Adjustment1&quot;:-1.0,&quot;Adjustment2&quot;:-1.0,&quot;Adjustment3&quot;:-1.0,&quot;Adjustment4&quot;:-1.0,&quot;CanManagePosition&quot;:false,&quot;Left&quot;:-1.0,&quot;Top&quot;:-1.0,&quot;Rotation&quot;:-1.0,&quot;CanManageSize&quot;:false,&quot;Width&quot;:-1.0,&quot;Height&quot;:-1.0,&quot;TextFrame2AutoSize&quot;:0,&quot;TextFrame2TextRangeFontName&quot;:&quot;&quot;,&quot;TextFrameMarginTop&quot;:0.0,&quot;TextFrameMarginLeft&quot;:0.0,&quot;TextFrameMarginRight&quot;:0.0,&quot;TextFrameMarginBottom&quot;:0.0,&quot;TextFrameWordWrap&quot;:0,&quot;TextFrameTextRangeFontSize&quot;:18.0,&quot;TextFrameTextRangeFontColorHexa&quot;:&quot;#000000&quot;,&quot;TextFrameTextRangeFontHighlightColorHexa&quot;:&quot;&quot;,&quot;TextFrameTextRangeFontBold&quot;:0,&quot;TextFrameTextRangeFontItalic&quot;:0,&quot;TextFrameTextRangeFontUnderline&quot;:0,&quot;TextFrameVerticalAnchor&quot;:3,&quot;TextFrameHorizontalAnchor&quot;:1,&quot;TextFrameTextRangeParagraphFormatBulletType&quot;:0,&quot;TextFrameTextRangeParagraphFormatBulletRelativeSize&quot;:-3.40282347E+38,&quot;TextFrameTextRangeParagraphFormatBulletCharacter&quot;:-2147483648,&quot;TextFrameTextRangeParagraphFormatBulletFontName&quot;:&quot;&quot;,&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CanChangeZOrderPosition&quot;:true,&quot;FillVisible&quot;:0,&quot;FillForeColorHexa&quot;:&quot;#000000&quot;,&quot;FillTransparency&quot;:1.0,&quot;LineVisible&quot;:0,&quot;LineForeColorHexa&quot;:null,&quot;LineWeight&quot;:0.0,&quot;LineDashStyle&quot;:1,&quot;LineEndArrowheadStyle&quot;:1,&quot;LineBeginArrowheadStyle&quot;:1,&quot;ShouldSendToBack&quot;:false,&quot;NeedsApplyToAll&quot;:false},&quot;Inactive&quot;:{&quot;AutoShapeType&quot;:1,&quot;CalloutType&quot;:1,&quot;CalloutAngle&quot;:2,&quot;CalloutGap&quot;:-3.40282347E+38,&quot;Visible&quot;:-1,&quot;LockAspectRatio&quot;:0,&quot;CanUpdateAdjustments&quot;:true,&quot;Adjustment1&quot;:-1.0,&quot;Adjustment2&quot;:-1.0,&quot;Adjustment3&quot;:-1.0,&quot;Adjustment4&quot;:-1.0,&quot;CanManagePosition&quot;:false,&quot;Left&quot;:-1.0,&quot;Top&quot;:-1.0,&quot;Rotation&quot;:-1.0,&quot;CanManageSize&quot;:false,&quot;Width&quot;:-1.0,&quot;Height&quot;:-1.0,&quot;TextFrame2AutoSize&quot;:0,&quot;TextFrame2TextRangeFontName&quot;:&quot;&quot;,&quot;TextFrameMarginTop&quot;:0.0,&quot;TextFrameMarginLeft&quot;:0.0,&quot;TextFrameMarginRight&quot;:0.0,&quot;TextFrameMarginBottom&quot;:0.0,&quot;TextFrameWordWrap&quot;:0,&quot;TextFrameTextRangeFontSize&quot;:18.0,&quot;TextFrameTextRangeFontColorHexa&quot;:&quot;#000000&quot;,&quot;TextFrameTextRangeFontHighlightColorHexa&quot;:&quot;&quot;,&quot;TextFrameTextRangeFontBold&quot;:0,&quot;TextFrameTextRangeFontItalic&quot;:0,&quot;TextFrameTextRangeFontUnderline&quot;:0,&quot;TextFrameVerticalAnchor&quot;:3,&quot;TextFrameHorizontalAnchor&quot;:1,&quot;TextFrameTextRangeParagraphFormatBulletType&quot;:0,&quot;TextFrameTextRangeParagraphFormatBulletRelativeSize&quot;:-3.40282347E+38,&quot;TextFrameTextRangeParagraphFormatBulletCharacter&quot;:-2147483648,&quot;TextFrameTextRangeParagraphFormatBulletFontName&quot;:&quot;&quot;,&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CanChangeZOrderPosition&quot;:true,&quot;FillVisible&quot;:0,&quot;FillForeColorHexa&quot;:&quot;#000000&quot;,&quot;FillTransparency&quot;:1.0,&quot;LineVisible&quot;:0,&quot;LineForeColorHexa&quot;:null,&quot;LineWeight&quot;:0.0,&quot;LineDashStyle&quot;:1,&quot;LineEndArrowheadStyle&quot;:1,&quot;LineBeginArrowheadStyle&quot;:1,&quot;ShouldSendToBack&quot;:false,&quot;NeedsApplyToAll&quot;:false},&quot;CoverPage&quot;:{&quot;AutoShapeType&quot;:1,&quot;CalloutType&quot;:1,&quot;CalloutAngle&quot;:2,&quot;CalloutGap&quot;:-3.40282347E+38,&quot;Visible&quot;:-1,&quot;LockAspectRatio&quot;:0,&quot;CanUpdateAdjustments&quot;:true,&quot;Adjustment1&quot;:-1.0,&quot;Adjustment2&quot;:-1.0,&quot;Adjustment3&quot;:-1.0,&quot;Adjustment4&quot;:-1.0,&quot;CanManagePosition&quot;:false,&quot;Left&quot;:-1.0,&quot;Top&quot;:-1.0,&quot;Rotation&quot;:-1.0,&quot;CanManageSize&quot;:false,&quot;Width&quot;:-1.0,&quot;Height&quot;:-1.0,&quot;TextFrame2AutoSize&quot;:0,&quot;TextFrame2TextRangeFontName&quot;:&quot;&quot;,&quot;TextFrameMarginTop&quot;:0.0,&quot;TextFrameMarginLeft&quot;:0.0,&quot;TextFrameMarginRight&quot;:0.0,&quot;TextFrameMarginBottom&quot;:0.0,&quot;TextFrameWordWrap&quot;:0,&quot;TextFrameTextRangeFontSize&quot;:18.0,&quot;TextFrameTextRangeFontColorHexa&quot;:&quot;#000000&quot;,&quot;TextFrameTextRangeFontHighlightColorHexa&quot;:&quot;&quot;,&quot;TextFrameTextRangeFontBold&quot;:0,&quot;TextFrameTextRangeFontItalic&quot;:0,&quot;TextFrameTextRangeFontUnderline&quot;:0,&quot;TextFrameVerticalAnchor&quot;:3,&quot;TextFrameHorizontalAnchor&quot;:1,&quot;TextFrameTextRangeParagraphFormatBulletType&quot;:0,&quot;TextFrameTextRangeParagraphFormatBulletRelativeSize&quot;:-3.40282347E+38,&quot;TextFrameTextRangeParagraphFormatBulletCharacter&quot;:-2147483648,&quot;TextFrameTextRangeParagraphFormatBulletFontName&quot;:&quot;&quot;,&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CanChangeZOrderPosition&quot;:true,&quot;FillVisible&quot;:0,&quot;FillForeColorHexa&quot;:&quot;#000000&quot;,&quot;FillTransparency&quot;:1.0,&quot;LineVisible&quot;:0,&quot;LineForeColorHexa&quot;:null,&quot;LineWeight&quot;:0.0,&quot;LineDashStyle&quot;:1,&quot;LineEndArrowheadStyle&quot;:1,&quot;LineBeginArrowheadStyle&quot;:1,&quot;ShouldSendToBack&quot;:false,&quot;NeedsApplyToAll&quot;:false}},&quot;Line&quot;:{&quot;AutoShapeType&quot;:1,&quot;CalloutType&quot;:1,&quot;CalloutAngle&quot;:2,&quot;CalloutGap&quot;:-3.40282347E+38,&quot;Visible&quot;:-1,&quot;LockAspectRatio&quot;:0,&quot;CanUpdateAdjustments&quot;:true,&quot;Adjustment1&quot;:-1.0,&quot;Adjustment2&quot;:-1.0,&quot;Adjustment3&quot;:-1.0,&quot;Adjustment4&quot;:-1.0,&quot;CanManagePosition&quot;:false,&quot;Left&quot;:-1.0,&quot;Top&quot;:-1.0,&quot;Rotation&quot;:-1.0,&quot;CanManageSize&quot;:false,&quot;Width&quot;:-1.0,&quot;Height&quot;:-1.0,&quot;TextFrame2AutoSize&quot;:0,&quot;TextFrame2TextRangeFontName&quot;:&quot;&quot;,&quot;TextFrameMarginTop&quot;:0.0,&quot;TextFrameMarginLeft&quot;:0.0,&quot;TextFrameMarginRight&quot;:0.0,&quot;TextFrameMarginBottom&quot;:0.0,&quot;TextFrameWordWrap&quot;:-1,&quot;TextFrameTextRangeFontSize&quot;:18.0,&quot;TextFrameTextRangeFontColorHexa&quot;:&quot;#000000&quot;,&quot;TextFrameTextRangeFontHighlightColorHexa&quot;:&quot;&quot;,&quot;TextFrameTextRangeFontBold&quot;:0,&quot;TextFrameTextRangeFontItalic&quot;:0,&quot;TextFrameTextRangeFontUnderline&quot;:0,&quot;TextFrameVerticalAnchor&quot;:3,&quot;TextFrameHorizontalAnchor&quot;:1,&quot;TextFrameTextRangeParagraphFormatBulletType&quot;:0,&quot;TextFrameTextRangeParagraphFormatBulletRelativeSize&quot;:-3.40282347E+38,&quot;TextFrameTextRangeParagraphFormatBulletCharacter&quot;:-2147483648,&quot;TextFrameTextRangeParagraphFormatBulletFontName&quot;:&quot;&quot;,&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CanChangeZOrderPosition&quot;:true,&quot;FillVisible&quot;:0,&quot;FillForeColorHexa&quot;:&quot;#000000&quot;,&quot;FillTransparency&quot;:0.0,&quot;LineVisible&quot;:-1,&quot;LineForeColorHexa&quot;:&quot;#C5B4E3&quot;,&quot;LineWeight&quot;:2.0,&quot;LineDashStyle&quot;:1,&quot;LineEndArrowheadStyle&quot;:1,&quot;LineBeginArrowheadStyle&quot;:1,&quot;ShouldSendToBack&quot;:true,&quot;NeedsApplyToAll&quot;:false},&quot;FontSizeShapeRatio&quot;:1.4},&quot;TableOfContent4&quot;:{&quot;MarginLeft&quot;:76.8,&quot;MarginRight&quot;:76.8,&quot;MarginTop&quot;:86.4,&quot;MarginBottom&quot;:21.6,&quot;ShouldVerticalCenter&quot;:true,&quot;Title&quot;:{&quot;AutoShapeType&quot;:1,&quot;CalloutType&quot;:1,&quot;CalloutAngle&quot;:2,&quot;CalloutGap&quot;:-3.40282347E+38,&quot;Visible&quot;:-1,&quot;LockAspectRatio&quot;:0,&quot;CanUpdateAdjustments&quot;:true,&quot;Adjustment1&quot;:-1.0,&quot;Adjustment2&quot;:-1.0,&quot;Adjustment3&quot;:-1.0,&quot;Adjustment4&quot;:-1.0,&quot;CanManagePosition&quot;:true,&quot;Left&quot;:76.8,&quot;Top&quot;:54.0,&quot;Rotation&quot;:0.0,&quot;CanManageSize&quot;:true,&quot;Width&quot;:768.0,&quot;Height&quot;:30.0,&quot;TextFrame2AutoSize&quot;:0,&quot;TextFrame2TextRangeFontName&quot;:&quot;&quot;,&quot;TextFrameMarginTop&quot;:0.0,&quot;TextFrameMarginLeft&quot;:0.0,&quot;TextFrameMarginRight&quot;:0.0,&quot;TextFrameMarginBottom&quot;:0.0,&quot;TextFrameWordWrap&quot;:-1,&quot;TextFrameTextRangeFontSize&quot;:32.0,&quot;TextFrameTextRangeFontColorHexa&quot;:&quot;#000000&quot;,&quot;TextFrameTextRangeFontHighlightColorHexa&quot;:&quot;&quot;,&quot;TextFrameTextRangeFontBold&quot;:0,&quot;TextFrameTextRangeFontItalic&quot;:0,&quot;TextFrameTextRangeFontUnderline&quot;:0,&quot;TextFrameVerticalAnchor&quot;:3,&quot;TextFrameHorizontalAnchor&quot;:1,&quot;TextFrameTextRangeParagraphFormatBulletType&quot;:0,&quot;TextFrameTextRangeParagraphFormatBulletRelativeSize&quot;:-3.40282347E+38,&quot;TextFrameTextRangeParagraphFormatBulletCharacter&quot;:-2147483648,&quot;TextFrameTextRangeParagraphFormatBulletFontName&quot;:&quot;&quot;,&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1,&quot;ZOrderPosition&quot;:-2147483648,&quot;CanChangeZOrderPosition&quot;:true,&quot;FillVisible&quot;:0,&quot;FillForeColorHexa&quot;:&quot;#000000&quot;,&quot;FillTransparency&quot;:1.0,&quot;LineVisible&quot;:0,&quot;LineForeColorHexa&quot;:null,&quot;LineWeight&quot;:0.0,&quot;LineDashStyle&quot;:1,&quot;LineEndArrowheadStyle&quot;:1,&quot;LineBeginArrowheadStyle&quot;:1,&quot;ShouldSendToBack&quot;:false,&quot;NeedsApplyToAll&quot;:true},&quot;SectionTitle&quot;:{&quot;Active&quot;:{&quot;AutoShapeType&quot;:1,&quot;CalloutType&quot;:1,&quot;CalloutAngle&quot;:2,&quot;CalloutGap&quot;:-3.40282347E+38,&quot;Visible&quot;:-1,&quot;LockAspectRatio&quot;:0,&quot;CanUpdateAdjustments&quot;:true,&quot;Adjustment1&quot;:-1.0,&quot;Adjustment2&quot;:-1.0,&quot;Adjustment3&quot;:-1.0,&quot;Adjustment4&quot;:-1.0,&quot;CanManagePosition&quot;:false,&quot;Left&quot;:-1.0,&quot;Top&quot;:-1.0,&quot;Rotation&quot;:-1.0,&quot;CanManageSize&quot;:false,&quot;Width&quot;:-1.0,&quot;Height&quot;:-1.0,&quot;TextFrame2AutoSize&quot;:0,&quot;TextFrame2TextRangeFontName&quot;:&quot;&quot;,&quot;TextFrameMarginTop&quot;:0.0,&quot;TextFrameMarginLeft&quot;:7.0,&quot;TextFrameMarginRight&quot;:0.0,&quot;TextFrameMarginBottom&quot;:0.0,&quot;TextFrameWordWrap&quot;:-1,&quot;TextFrameTextRangeFontSize&quot;:18.0,&quot;TextFrameTextRangeFontColorHexa&quot;:&quot;#000000&quot;,&quot;TextFrameTextRangeFontHighlightColorHexa&quot;:&quot;&quot;,&quot;TextFrameTextRangeFontBold&quot;:0,&quot;TextFrameTextRangeFontItalic&quot;:0,&quot;TextFrameTextRangeFontUnderline&quot;:0,&quot;TextFrameVerticalAnchor&quot;:3,&quot;TextFrameHorizontalAnchor&quot;:1,&quot;TextFrameTextRangeParagraphFormatBulletType&quot;:0,&quot;TextFrameTextRangeParagraphFormatBulletRelativeSize&quot;:-3.40282347E+38,&quot;TextFrameTextRangeParagraphFormatBulletCharacter&quot;:-2147483648,&quot;TextFrameTextRangeParagraphFormatBulletFontName&quot;:&quot;&quot;,&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1,&quot;ZOrderPosition&quot;:-2147483648,&quot;CanChangeZOrderPosition&quot;:true,&quot;FillVisible&quot;:0,&quot;FillForeColorHexa&quot;:&quot;#000000&quot;,&quot;FillTransparency&quot;:1.0,&quot;LineVisible&quot;:0,&quot;LineForeColorHexa&quot;:null,&quot;LineWeight&quot;:0.0,&quot;LineDashStyle&quot;:1,&quot;LineEndArrowheadStyle&quot;:1,&quot;LineBeginArrowheadStyle&quot;:1,&quot;ShouldSendToBack&quot;:false,&quot;NeedsApplyToAll&quot;:false},&quot;Inactive&quot;:{&quot;AutoShapeType&quot;:1,&quot;CalloutType&quot;:1,&quot;CalloutAngle&quot;:2,&quot;CalloutGap&quot;:-3.40282347E+38,&quot;Visible&quot;:-1,&quot;LockAspectRatio&quot;:0,&quot;CanUpdateAdjustments&quot;:true,&quot;Adjustment1&quot;:-1.0,&quot;Adjustment2&quot;:-1.0,&quot;Adjustment3&quot;:-1.0,&quot;Adjustment4&quot;:-1.0,&quot;CanManagePosition&quot;:false,&quot;Left&quot;:-1.0,&quot;Top&quot;:-1.0,&quot;Rotation&quot;:-1.0,&quot;CanManageSize&quot;:false,&quot;Width&quot;:-1.0,&quot;Height&quot;:-1.0,&quot;TextFrame2AutoSize&quot;:0,&quot;TextFrame2TextRangeFontName&quot;:&quot;&quot;,&quot;TextFrameMarginTop&quot;:0.0,&quot;TextFrameMarginLeft&quot;:7.0,&quot;TextFrameMarginRight&quot;:0.0,&quot;TextFrameMarginBottom&quot;:0.0,&quot;TextFrameWordWrap&quot;:-1,&quot;TextFrameTextRangeFontSize&quot;:18.0,&quot;TextFrameTextRangeFontColorHexa&quot;:&quot;#000000&quot;,&quot;TextFrameTextRangeFontHighlightColorHexa&quot;:&quot;&quot;,&quot;TextFrameTextRangeFontBold&quot;:0,&quot;TextFrameTextRangeFontItalic&quot;:0,&quot;TextFrameTextRangeFontUnderline&quot;:0,&quot;TextFrameVerticalAnchor&quot;:3,&quot;TextFrameHorizontalAnchor&quot;:1,&quot;TextFrameTextRangeParagraphFormatBulletType&quot;:0,&quot;TextFrameTextRangeParagraphFormatBulletRelativeSize&quot;:-3.40282347E+38,&quot;TextFrameTextRangeParagraphFormatBulletCharacter&quot;:-2147483648,&quot;TextFrameTextRangeParagraphFormatBulletFontName&quot;:&quot;&quot;,&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1,&quot;ZOrderPosition&quot;:-2147483648,&quot;CanChangeZOrderPosition&quot;:true,&quot;FillVisible&quot;:0,&quot;FillForeColorHexa&quot;:&quot;#000000&quot;,&quot;FillTransparency&quot;:1.0,&quot;LineVisible&quot;:0,&quot;LineForeColorHexa&quot;:null,&quot;LineWeight&quot;:0.0,&quot;LineDashStyle&quot;:1,&quot;LineEndArrowheadStyle&quot;:1,&quot;LineBeginArrowheadStyle&quot;:1,&quot;ShouldSendToBack&quot;:false,&quot;NeedsApplyToAll&quot;:false},&quot;CoverPage&quot;:{&quot;AutoShapeType&quot;:1,&quot;CalloutType&quot;:1,&quot;CalloutAngle&quot;:2,&quot;CalloutGap&quot;:-3.40282347E+38,&quot;Visible&quot;:-1,&quot;LockAspectRatio&quot;:0,&quot;CanUpdateAdjustments&quot;:true,&quot;Adjustment1&quot;:-1.0,&quot;Adjustment2&quot;:-1.0,&quot;Adjustment3&quot;:-1.0,&quot;Adjustment4&quot;:-1.0,&quot;CanManagePosition&quot;:false,&quot;Left&quot;:-1.0,&quot;Top&quot;:-1.0,&quot;Rotation&quot;:-1.0,&quot;CanManageSize&quot;:false,&quot;Width&quot;:-1.0,&quot;Height&quot;:-1.0,&quot;TextFrame2AutoSize&quot;:0,&quot;TextFrame2TextRangeFontName&quot;:&quot;&quot;,&quot;TextFrameMarginTop&quot;:0.0,&quot;TextFrameMarginLeft&quot;:7.0,&quot;TextFrameMarginRight&quot;:0.0,&quot;TextFrameMarginBottom&quot;:0.0,&quot;TextFrameWordWrap&quot;:-1,&quot;TextFrameTextRangeFontSize&quot;:18.0,&quot;TextFrameTextRangeFontColorHexa&quot;:&quot;#000000&quot;,&quot;TextFrameTextRangeFontHighlightColorHexa&quot;:&quot;&quot;,&quot;TextFrameTextRangeFontBold&quot;:0,&quot;TextFrameTextRangeFontItalic&quot;:0,&quot;TextFrameTextRangeFontUnderline&quot;:0,&quot;TextFrameVerticalAnchor&quot;:3,&quot;TextFrameHorizontalAnchor&quot;:1,&quot;TextFrameTextRangeParagraphFormatBulletType&quot;:0,&quot;TextFrameTextRangeParagraphFormatBulletRelativeSize&quot;:-3.40282347E+38,&quot;TextFrameTextRangeParagraphFormatBulletCharacter&quot;:-2147483648,&quot;TextFrameTextRangeParagraphFormatBulletFontName&quot;:&quot;&quot;,&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1,&quot;ZOrderPosition&quot;:-2147483648,&quot;CanChangeZOrderPosition&quot;:true,&quot;FillVisible&quot;:0,&quot;FillForeColorHexa&quot;:&quot;#000000&quot;,&quot;FillTransparency&quot;:1.0,&quot;LineVisible&quot;:0,&quot;LineForeColorHexa&quot;:null,&quot;LineWeight&quot;:0.0,&quot;LineDashStyle&quot;:1,&quot;LineEndArrowheadStyle&quot;:1,&quot;LineBeginArrowheadStyle&quot;:1,&quot;ShouldSendToBack&quot;:false,&quot;NeedsApplyToAll&quot;:false}},&quot;Number&quot;:{&quot;Active&quot;:{&quot;AutoShapeType&quot;:9,&quot;CalloutType&quot;:1,&quot;CalloutAngle&quot;:2,&quot;CalloutGap&quot;:-3.40282347E+38,&quot;Visible&quot;:-1,&quot;LockAspectRatio&quot;:-1,&quot;CanUpdateAdjustments&quot;:true,&quot;Adjustment1&quot;:-1.0,&quot;Adjustment2&quot;:-1.0,&quot;Adjustment3&quot;:-1.0,&quot;Adjustment4&quot;:-1.0,&quot;CanManagePosition&quot;:false,&quot;Left&quot;:-1.0,&quot;Top&quot;:-1.0,&quot;Rotation&quot;:-1.0,&quot;CanManageSize&quot;:false,&quot;Width&quot;:-1.0,&quot;Height&quot;:-1.0,&quot;TextFrame2AutoSize&quot;:0,&quot;TextFrame2TextRangeFontName&quot;:&quot;&quot;,&quot;TextFrameMarginTop&quot;:0.0,&quot;TextFrameMarginLeft&quot;:0.0,&quot;TextFrameMarginRight&quot;:0.0,&quot;TextFrameMarginBottom&quot;:0.0,&quot;TextFrameWordWrap&quot;:0,&quot;TextFrameTextRangeFontSize&quot;:18.0,&quot;TextFrameTextRangeFontColorHexa&quot;:&quot;#FFFFFF&quot;,&quot;TextFrameTextRangeFontHighlightColorHexa&quot;:&quot;&quot;,&quot;TextFrameTextRangeFontBold&quot;:-1,&quot;TextFrameTextRangeFontItalic&quot;:0,&quot;TextFrameTextRangeFontUnderline&quot;:0,&quot;TextFrameVerticalAnchor&quot;:3,&quot;TextFrameHorizontalAnchor&quot;:1,&quot;TextFrameTextRangeParagraphFormatBulletType&quot;:0,&quot;TextFrameTextRangeParagraphFormatBulletRelativeSize&quot;:-3.40282347E+38,&quot;TextFrameTextRangeParagraphFormatBulletCharacter&quot;:-2147483648,&quot;TextFrameTextRangeParagraphFormatBulletFontName&quot;:&quot;&quot;,&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CanChangeZOrderPosition&quot;:true,&quot;FillVisible&quot;:-1,&quot;FillForeColorHexa&quot;:&quot;#C5B4E3&quot;,&quot;FillTransparency&quot;:0.0,&quot;LineVisible&quot;:-1,&quot;LineForeColorHexa&quot;:&quot;#C5B4E3&quot;,&quot;LineWeight&quot;:2.0,&quot;LineDashStyle&quot;:1,&quot;LineEndArrowheadStyle&quot;:1,&quot;LineBeginArrowheadStyle&quot;:1,&quot;ShouldSendToBack&quot;:false,&quot;NeedsApplyToAll&quot;:false},&quot;Inactive&quot;:{&quot;AutoShapeType&quot;:9,&quot;CalloutType&quot;:1,&quot;CalloutAngle&quot;:2,&quot;CalloutGap&quot;:-3.40282347E+38,&quot;Visible&quot;:-1,&quot;LockAspectRatio&quot;:-1,&quot;CanUpdateAdjustments&quot;:true,&quot;Adjustment1&quot;:-1.0,&quot;Adjustment2&quot;:-1.0,&quot;Adjustment3&quot;:-1.0,&quot;Adjustment4&quot;:-1.0,&quot;CanManagePosition&quot;:false,&quot;Left&quot;:-1.0,&quot;Top&quot;:-1.0,&quot;Rotation&quot;:-1.0,&quot;CanManageSize&quot;:false,&quot;Width&quot;:-1.0,&quot;Height&quot;:-1.0,&quot;TextFrame2AutoSize&quot;:0,&quot;TextFrame2TextRangeFontName&quot;:&quot;&quot;,&quot;TextFrameMarginTop&quot;:0.0,&quot;TextFrameMarginLeft&quot;:0.0,&quot;TextFrameMarginRight&quot;:0.0,&quot;TextFrameMarginBottom&quot;:0.0,&quot;TextFrameWordWrap&quot;:0,&quot;TextFrameTextRangeFontSize&quot;:18.0,&quot;TextFrameTextRangeFontColorHexa&quot;:&quot;#C5B4E3&quot;,&quot;TextFrameTextRangeFontHighlightColorHexa&quot;:&quot;&quot;,&quot;TextFrameTextRangeFontBold&quot;:-1,&quot;TextFrameTextRangeFontItalic&quot;:0,&quot;TextFrameTextRangeFontUnderline&quot;:0,&quot;TextFrameVerticalAnchor&quot;:3,&quot;TextFrameHorizontalAnchor&quot;:1,&quot;TextFrameTextRangeParagraphFormatBulletType&quot;:0,&quot;TextFrameTextRangeParagraphFormatBulletRelativeSize&quot;:-3.40282347E+38,&quot;TextFrameTextRangeParagraphFormatBulletCharacter&quot;:-2147483648,&quot;TextFrameTextRangeParagraphFormatBulletFontName&quot;:&quot;&quot;,&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CanChangeZOrderPosition&quot;:true,&quot;FillVisible&quot;:-1,&quot;FillForeColorHexa&quot;:&quot;#FFFFFF&quot;,&quot;FillTransparency&quot;:0.0,&quot;LineVisible&quot;:-1,&quot;LineForeColorHexa&quot;:&quot;#C5B4E3&quot;,&quot;LineWeight&quot;:2.0,&quot;LineDashStyle&quot;:1,&quot;LineEndArrowheadStyle&quot;:1,&quot;LineBeginArrowheadStyle&quot;:1,&quot;ShouldSendToBack&quot;:false,&quot;NeedsApplyToAll&quot;:false},&quot;CoverPage&quot;:{&quot;AutoShapeType&quot;:9,&quot;CalloutType&quot;:1,&quot;CalloutAngle&quot;:2,&quot;CalloutGap&quot;:-3.40282347E+38,&quot;Visible&quot;:-1,&quot;LockAspectRatio&quot;:-1,&quot;CanUpdateAdjustments&quot;:true,&quot;Adjustment1&quot;:-1.0,&quot;Adjustment2&quot;:-1.0,&quot;Adjustment3&quot;:-1.0,&quot;Adjustment4&quot;:-1.0,&quot;CanManagePosition&quot;:false,&quot;Left&quot;:-1.0,&quot;Top&quot;:-1.0,&quot;Rotation&quot;:-1.0,&quot;CanManageSize&quot;:false,&quot;Width&quot;:-1.0,&quot;Height&quot;:-1.0,&quot;TextFrame2AutoSize&quot;:0,&quot;TextFrame2TextRangeFontName&quot;:&quot;&quot;,&quot;TextFrameMarginTop&quot;:0.0,&quot;TextFrameMarginLeft&quot;:0.0,&quot;TextFrameMarginRight&quot;:0.0,&quot;TextFrameMarginBottom&quot;:0.0,&quot;TextFrameWordWrap&quot;:0,&quot;TextFrameTextRangeFontSize&quot;:18.0,&quot;TextFrameTextRangeFontColorHexa&quot;:&quot;#FFFFFF&quot;,&quot;TextFrameTextRangeFontHighlightColorHexa&quot;:&quot;&quot;,&quot;TextFrameTextRangeFontBold&quot;:-1,&quot;TextFrameTextRangeFontItalic&quot;:0,&quot;TextFrameTextRangeFontUnderline&quot;:0,&quot;TextFrameVerticalAnchor&quot;:3,&quot;TextFrameHorizontalAnchor&quot;:1,&quot;TextFrameTextRangeParagraphFormatBulletType&quot;:0,&quot;TextFrameTextRangeParagraphFormatBulletRelativeSize&quot;:-3.40282347E+38,&quot;TextFrameTextRangeParagraphFormatBulletCharacter&quot;:-2147483648,&quot;TextFrameTextRangeParagraphFormatBulletFontName&quot;:&quot;&quot;,&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CanChangeZOrderPosition&quot;:true,&quot;FillVisible&quot;:-1,&quot;FillForeColorHexa&quot;:&quot;#C5B4E3&quot;,&quot;FillTransparency&quot;:0.0,&quot;LineVisible&quot;:-1,&quot;LineForeColorHexa&quot;:&quot;#C5B4E3&quot;,&quot;LineWeight&quot;:2.0,&quot;LineDashStyle&quot;:1,&quot;LineEndArrowheadStyle&quot;:1,&quot;LineBeginArrowheadStyle&quot;:1,&quot;ShouldSendToBack&quot;:false,&quot;NeedsApplyToAll&quot;:false}},&quot;SlideIndex&quot;:{&quot;Active&quot;:{&quot;AutoShapeType&quot;:1,&quot;CalloutType&quot;:1,&quot;CalloutAngle&quot;:2,&quot;CalloutGap&quot;:-3.40282347E+38,&quot;Visible&quot;:-1,&quot;LockAspectRatio&quot;:0,&quot;CanUpdateAdjustments&quot;:true,&quot;Adjustment1&quot;:-1.0,&quot;Adjustment2&quot;:-1.0,&quot;Adjustment3&quot;:-1.0,&quot;Adjustment4&quot;:-1.0,&quot;CanManagePosition&quot;:false,&quot;Left&quot;:-1.0,&quot;Top&quot;:-1.0,&quot;Rotation&quot;:-1.0,&quot;CanManageSize&quot;:false,&quot;Width&quot;:-1.0,&quot;Height&quot;:-1.0,&quot;TextFrame2AutoSize&quot;:0,&quot;TextFrame2TextRangeFontName&quot;:&quot;&quot;,&quot;TextFrameMarginTop&quot;:0.0,&quot;TextFrameMarginLeft&quot;:0.0,&quot;TextFrameMarginRight&quot;:0.0,&quot;TextFrameMarginBottom&quot;:0.0,&quot;TextFrameWordWrap&quot;:0,&quot;TextFrameTextRangeFontSize&quot;:18.0,&quot;TextFrameTextRangeFontColorHexa&quot;:&quot;#000000&quot;,&quot;TextFrameTextRangeFontHighlightColorHexa&quot;:&quot;&quot;,&quot;TextFrameTextRangeFontBold&quot;:0,&quot;TextFrameTextRangeFontItalic&quot;:0,&quot;TextFrameTextRangeFontUnderline&quot;:0,&quot;TextFrameVerticalAnchor&quot;:3,&quot;TextFrameHorizontalAnchor&quot;:1,&quot;TextFrameTextRangeParagraphFormatBulletType&quot;:0,&quot;TextFrameTextRangeParagraphFormatBulletRelativeSize&quot;:-3.40282347E+38,&quot;TextFrameTextRangeParagraphFormatBulletCharacter&quot;:-2147483648,&quot;TextFrameTextRangeParagraphFormatBulletFontName&quot;:&quot;&quot;,&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CanChangeZOrderPosition&quot;:true,&quot;FillVisible&quot;:0,&quot;FillForeColorHexa&quot;:&quot;#000000&quot;,&quot;FillTransparency&quot;:1.0,&quot;LineVisible&quot;:0,&quot;LineForeColorHexa&quot;:null,&quot;LineWeight&quot;:0.0,&quot;LineDashStyle&quot;:1,&quot;LineEndArrowheadStyle&quot;:1,&quot;LineBeginArrowheadStyle&quot;:1,&quot;ShouldSendToBack&quot;:false,&quot;NeedsApplyToAll&quot;:false},&quot;Inactive&quot;:{&quot;AutoShapeType&quot;:1,&quot;CalloutType&quot;:1,&quot;CalloutAngle&quot;:2,&quot;CalloutGap&quot;:-3.40282347E+38,&quot;Visible&quot;:-1,&quot;LockAspectRatio&quot;:0,&quot;CanUpdateAdjustments&quot;:true,&quot;Adjustment1&quot;:-1.0,&quot;Adjustment2&quot;:-1.0,&quot;Adjustment3&quot;:-1.0,&quot;Adjustment4&quot;:-1.0,&quot;CanManagePosition&quot;:false,&quot;Left&quot;:-1.0,&quot;Top&quot;:-1.0,&quot;Rotation&quot;:-1.0,&quot;CanManageSize&quot;:false,&quot;Width&quot;:-1.0,&quot;Height&quot;:-1.0,&quot;TextFrame2AutoSize&quot;:0,&quot;TextFrame2TextRangeFontName&quot;:&quot;&quot;,&quot;TextFrameMarginTop&quot;:0.0,&quot;TextFrameMarginLeft&quot;:0.0,&quot;TextFrameMarginRight&quot;:0.0,&quot;TextFrameMarginBottom&quot;:0.0,&quot;TextFrameWordWrap&quot;:0,&quot;TextFrameTextRangeFontSize&quot;:18.0,&quot;TextFrameTextRangeFontColorHexa&quot;:&quot;#000000&quot;,&quot;TextFrameTextRangeFontHighlightColorHexa&quot;:&quot;&quot;,&quot;TextFrameTextRangeFontBold&quot;:0,&quot;TextFrameTextRangeFontItalic&quot;:0,&quot;TextFrameTextRangeFontUnderline&quot;:0,&quot;TextFrameVerticalAnchor&quot;:3,&quot;TextFrameHorizontalAnchor&quot;:1,&quot;TextFrameTextRangeParagraphFormatBulletType&quot;:0,&quot;TextFrameTextRangeParagraphFormatBulletRelativeSize&quot;:-3.40282347E+38,&quot;TextFrameTextRangeParagraphFormatBulletCharacter&quot;:-2147483648,&quot;TextFrameTextRangeParagraphFormatBulletFontName&quot;:&quot;&quot;,&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CanChangeZOrderPosition&quot;:true,&quot;FillVisible&quot;:0,&quot;FillForeColorHexa&quot;:&quot;#000000&quot;,&quot;FillTransparency&quot;:1.0,&quot;LineVisible&quot;:0,&quot;LineForeColorHexa&quot;:null,&quot;LineWeight&quot;:0.0,&quot;LineDashStyle&quot;:1,&quot;LineEndArrowheadStyle&quot;:1,&quot;LineBeginArrowheadStyle&quot;:1,&quot;ShouldSendToBack&quot;:false,&quot;NeedsApplyToAll&quot;:false},&quot;CoverPage&quot;:{&quot;AutoShapeType&quot;:1,&quot;CalloutType&quot;:1,&quot;CalloutAngle&quot;:2,&quot;CalloutGap&quot;:-3.40282347E+38,&quot;Visible&quot;:-1,&quot;LockAspectRatio&quot;:0,&quot;CanUpdateAdjustments&quot;:true,&quot;Adjustment1&quot;:-1.0,&quot;Adjustment2&quot;:-1.0,&quot;Adjustment3&quot;:-1.0,&quot;Adjustment4&quot;:-1.0,&quot;CanManagePosition&quot;:false,&quot;Left&quot;:-1.0,&quot;Top&quot;:-1.0,&quot;Rotation&quot;:-1.0,&quot;CanManageSize&quot;:false,&quot;Width&quot;:-1.0,&quot;Height&quot;:-1.0,&quot;TextFrame2AutoSize&quot;:0,&quot;TextFrame2TextRangeFontName&quot;:&quot;&quot;,&quot;TextFrameMarginTop&quot;:0.0,&quot;TextFrameMarginLeft&quot;:0.0,&quot;TextFrameMarginRight&quot;:0.0,&quot;TextFrameMarginBottom&quot;:0.0,&quot;TextFrameWordWrap&quot;:0,&quot;TextFrameTextRangeFontSize&quot;:18.0,&quot;TextFrameTextRangeFontColorHexa&quot;:&quot;#000000&quot;,&quot;TextFrameTextRangeFontHighlightColorHexa&quot;:&quot;&quot;,&quot;TextFrameTextRangeFontBold&quot;:0,&quot;TextFrameTextRangeFontItalic&quot;:0,&quot;TextFrameTextRangeFontUnderline&quot;:0,&quot;TextFrameVerticalAnchor&quot;:3,&quot;TextFrameHorizontalAnchor&quot;:1,&quot;TextFrameTextRangeParagraphFormatBulletType&quot;:0,&quot;TextFrameTextRangeParagraphFormatBulletRelativeSize&quot;:-3.40282347E+38,&quot;TextFrameTextRangeParagraphFormatBulletCharacter&quot;:-2147483648,&quot;TextFrameTextRangeParagraphFormatBulletFontName&quot;:&quot;&quot;,&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CanChangeZOrderPosition&quot;:true,&quot;FillVisible&quot;:0,&quot;FillForeColorHexa&quot;:&quot;#000000&quot;,&quot;FillTransparency&quot;:1.0,&quot;LineVisible&quot;:0,&quot;LineForeColorHexa&quot;:null,&quot;LineWeight&quot;:0.0,&quot;LineDashStyle&quot;:1,&quot;LineEndArrowheadStyle&quot;:1,&quot;LineBeginArrowheadStyle&quot;:1,&quot;ShouldSendToBack&quot;:false,&quot;NeedsApplyToAll&quot;:false}},&quot;Arc&quot;:{&quot;AutoShapeType&quot;:25,&quot;CalloutType&quot;:1,&quot;CalloutAngle&quot;:2,&quot;CalloutGap&quot;:-3.40282347E+38,&quot;Visible&quot;:-1,&quot;LockAspectRatio&quot;:0,&quot;CanUpdateAdjustments&quot;:false,&quot;Adjustment1&quot;:-1.0,&quot;Adjustment2&quot;:-1.0,&quot;Adjustment3&quot;:-1.0,&quot;Adjustment4&quot;:-1.0,&quot;CanManagePosition&quot;:false,&quot;Left&quot;:-1.0,&quot;Top&quot;:-1.0,&quot;Rotation&quot;:-1.0,&quot;CanManageSize&quot;:false,&quot;Width&quot;:-1.0,&quot;Height&quot;:-1.0,&quot;TextFrame2AutoSize&quot;:0,&quot;TextFrame2TextRangeFontName&quot;:&quot;&quot;,&quot;TextFrameMarginTop&quot;:0.0,&quot;TextFrameMarginLeft&quot;:0.0,&quot;TextFrameMarginRight&quot;:0.0,&quot;TextFrameMarginBottom&quot;:0.0,&quot;TextFrameWordWrap&quot;:-1,&quot;TextFrameTextRangeFontSize&quot;:18.0,&quot;TextFrameTextRangeFontColorHexa&quot;:&quot;#000000&quot;,&quot;TextFrameTextRangeFontHighlightColorHexa&quot;:&quot;&quot;,&quot;TextFrameTextRangeFontBold&quot;:0,&quot;TextFrameTextRangeFontItalic&quot;:0,&quot;TextFrameTextRangeFontUnderline&quot;:0,&quot;TextFrameVerticalAnchor&quot;:3,&quot;TextFrameHorizontalAnchor&quot;:1,&quot;TextFrameTextRangeParagraphFormatBulletType&quot;:0,&quot;TextFrameTextRangeParagraphFormatBulletRelativeSize&quot;:-3.40282347E+38,&quot;TextFrameTextRangeParagraphFormatBulletCharacter&quot;:-2147483648,&quot;TextFrameTextRangeParagraphFormatBulletFontName&quot;:&quot;&quot;,&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CanChangeZOrderPosition&quot;:true,&quot;FillVisible&quot;:0,&quot;FillForeColorHexa&quot;:&quot;#000000&quot;,&quot;FillTransparency&quot;:0.0,&quot;LineVisible&quot;:-1,&quot;LineForeColorHexa&quot;:&quot;#C5B4E3&quot;,&quot;LineWeight&quot;:2.0,&quot;LineDashStyle&quot;:1,&quot;LineEndArrowheadStyle&quot;:1,&quot;LineBeginArrowheadStyle&quot;:1,&quot;ShouldSendToBack&quot;:true,&quot;NeedsApplyToAll&quot;:false},&quot;FontSizeShapeRatio&quot;:1.4},&quot;Breadcrumb&quot;:{&quot;ShapeDesign&quot;:{&quot;Active&quot;:{&quot;AutoShapeType&quot;:51,&quot;CalloutType&quot;:1,&quot;CalloutAngle&quot;:2,&quot;CalloutGap&quot;:-3.40282347E+38,&quot;Visible&quot;:-1,&quot;LockAspectRatio&quot;:0,&quot;CanUpdateAdjustments&quot;:true,&quot;Adjustment1&quot;:-1.0,&quot;Adjustment2&quot;:-1.0,&quot;Adjustment3&quot;:-1.0,&quot;Adjustment4&quot;:-1.0,&quot;CanManagePosition&quot;:false,&quot;Left&quot;:0.0,&quot;Top&quot;:0.0,&quot;Rotation&quot;:-1.0,&quot;CanManageSize&quot;:true,&quot;Width&quot;:0.0,&quot;Height&quot;:20.0,&quot;TextFrame2AutoSize&quot;:1,&quot;TextFrame2TextRangeFontName&quot;:&quot;&quot;,&quot;TextFrameMarginTop&quot;:0.0,&quot;TextFrameMarginLeft&quot;:20.0,&quot;TextFrameMarginRight&quot;:10.0,&quot;TextFrameMarginBottom&quot;:0.0,&quot;TextFrameWordWrap&quot;:0,&quot;TextFrameTextRangeFontSize&quot;:18.0,&quot;TextFrameTextRangeFontColorHexa&quot;:&quot;#FFFFFF&quot;,&quot;TextFrameTextRangeFontHighlightColorHexa&quot;:&quot;&quot;,&quot;TextFrameTextRangeFontBold&quot;:0,&quot;TextFrameTextRangeFontItalic&quot;:0,&quot;TextFrameTextRangeFontUnderline&quot;:0,&quot;TextFrameVerticalAnchor&quot;:3,&quot;TextFrameHorizontalAnchor&quot;:1,&quot;TextFrameTextRangeParagraphFormatBulletType&quot;:0,&quot;TextFrameTextRangeParagraphFormatBulletRelativeSize&quot;:-3.40282347E+38,&quot;TextFrameTextRangeParagraphFormatBulletCharacter&quot;:-2147483648,&quot;TextFrameTextRangeParagraphFormatBulletFontName&quot;:&quot;&quot;,&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CanChangeZOrderPosition&quot;:false,&quot;FillVisible&quot;:-1,&quot;FillForeColorHexa&quot;:&quot;#595959&quot;,&quot;FillTransparency&quot;:0.0,&quot;LineVisible&quot;:-1,&quot;LineForeColorHexa&quot;:&quot;#595959&quot;,&quot;LineWeight&quot;:1.0,&quot;LineDashStyle&quot;:1,&quot;LineEndArrowheadStyle&quot;:1,&quot;LineBeginArrowheadStyle&quot;:1,&quot;ShouldSendToBack&quot;:false,&quot;NeedsApplyToAll&quot;:false},&quot;Inactive&quot;:{&quot;AutoShapeType&quot;:51,&quot;CalloutType&quot;:1,&quot;CalloutAngle&quot;:2,&quot;CalloutGap&quot;:-3.40282347E+38,&quot;Visible&quot;:-1,&quot;LockAspectRatio&quot;:0,&quot;CanUpdateAdjustments&quot;:true,&quot;Adjustment1&quot;:-1.0,&quot;Adjustment2&quot;:-1.0,&quot;Adjustment3&quot;:-1.0,&quot;Adjustment4&quot;:-1.0,&quot;CanManagePosition&quot;:false,&quot;Left&quot;:0.0,&quot;Top&quot;:0.0,&quot;Rotation&quot;:-1.0,&quot;CanManageSize&quot;:true,&quot;Width&quot;:0.0,&quot;Height&quot;:20.0,&quot;TextFrame2AutoSize&quot;:1,&quot;TextFrame2TextRangeFontName&quot;:&quot;&quot;,&quot;TextFrameMarginTop&quot;:0.0,&quot;TextFrameMarginLeft&quot;:20.0,&quot;TextFrameMarginRight&quot;:10.0,&quot;TextFrameMarginBottom&quot;:0.0,&quot;TextFrameWordWrap&quot;:0,&quot;TextFrameTextRangeFontSize&quot;:18.0,&quot;TextFrameTextRangeFontColorHexa&quot;:&quot;#FFFFFF&quot;,&quot;TextFrameTextRangeFontHighlightColorHexa&quot;:&quot;&quot;,&quot;TextFrameTextRangeFontBold&quot;:0,&quot;TextFrameTextRangeFontItalic&quot;:0,&quot;TextFrameTextRangeFontUnderline&quot;:0,&quot;TextFrameVerticalAnchor&quot;:3,&quot;TextFrameHorizontalAnchor&quot;:1,&quot;TextFrameTextRangeParagraphFormatBulletType&quot;:0,&quot;TextFrameTextRangeParagraphFormatBulletRelativeSize&quot;:-3.40282347E+38,&quot;TextFrameTextRangeParagraphFormatBulletCharacter&quot;:-2147483648,&quot;TextFrameTextRangeParagraphFormatBulletFontName&quot;:&quot;&quot;,&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CanChangeZOrderPosition&quot;:false,&quot;FillVisible&quot;:-1,&quot;FillForeColorHexa&quot;:&quot;#D9D9D9&quot;,&quot;FillTransparency&quot;:0.0,&quot;LineVisible&quot;:-1,&quot;LineForeColorHexa&quot;:&quot;#595959&quot;,&quot;LineWeight&quot;:1.0,&quot;LineDashStyle&quot;:1,&quot;LineEndArrowheadStyle&quot;:1,&quot;LineBeginArrowheadStyle&quot;:1,&quot;ShouldSendToBack&quot;:false,&quot;NeedsApplyToAll&quot;:false},&quot;CoverPage&quot;:{&quot;AutoShapeType&quot;:1,&quot;CalloutType&quot;:1,&quot;CalloutAngle&quot;:2,&quot;CalloutGap&quot;:-3.40282347E+38,&quot;Visible&quot;:-1,&quot;LockAspectRatio&quot;:0,&quot;CanUpdateAdjustments&quot;:true,&quot;Adjustment1&quot;:-1.0,&quot;Adjustment2&quot;:-1.0,&quot;Adjustment3&quot;:-1.0,&quot;Adjustment4&quot;:-1.0,&quot;CanManagePosition&quot;:false,&quot;Left&quot;:-1.0,&quot;Top&quot;:-1.0,&quot;Rotation&quot;:-1.0,&quot;CanManageSize&quot;:false,&quot;Width&quot;:-1.0,&quot;Height&quot;:-1.0,&quot;TextFrame2AutoSize&quot;:0,&quot;TextFrame2TextRangeFontName&quot;:&quot;&quot;,&quot;TextFrameMarginTop&quot;:0.0,&quot;TextFrameMarginLeft&quot;:0.0,&quot;TextFrameMarginRight&quot;:0.0,&quot;TextFrameMarginBottom&quot;:0.0,&quot;TextFrameWordWrap&quot;:-1,&quot;TextFrameTextRangeFontSize&quot;:18.0,&quot;TextFrameTextRangeFontColorHexa&quot;:&quot;#000000&quot;,&quot;TextFrameTextRangeFontHighlightColorHexa&quot;:&quot;&quot;,&quot;TextFrameTextRangeFontBold&quot;:0,&quot;TextFrameTextRangeFontItalic&quot;:0,&quot;TextFrameTextRangeFontUnderline&quot;:0,&quot;TextFrameVerticalAnchor&quot;:3,&quot;TextFrameHorizontalAnchor&quot;:1,&quot;TextFrameTextRangeParagraphFormatBulletType&quot;:0,&quot;TextFrameTextRangeParagraphFormatBulletRelativeSize&quot;:-3.40282347E+38,&quot;TextFrameTextRangeParagraphFormatBulletCharacter&quot;:-2147483648,&quot;TextFrameTextRangeParagraphFormatBulletFontName&quot;:&quot;&quot;,&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CanChangeZOrderPosition&quot;:true,&quot;FillVisible&quot;:-1,&quot;FillForeColorHexa&quot;:&quot;#000000&quot;,&quot;FillTransparency&quot;:0.0,&quot;LineVisible&quot;:-1,&quot;LineForeColorHexa&quot;:null,&quot;LineWeight&quot;:0.0,&quot;LineDashStyle&quot;:1,&quot;LineEndArrowheadStyle&quot;:1,&quot;LineBeginArrowheadStyle&quot;:1,&quot;ShouldSendToBack&quot;:false,&quot;NeedsApplyToAll&quot;:false}},&quot;LeftOffsetAfterFirstShape&quot;:-10.0,&quot;FontSizeShapeRatio&quot;:1.4}}"/>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heme/theme1.xml><?xml version="1.0" encoding="utf-8"?>
<a:theme xmlns:a="http://schemas.openxmlformats.org/drawingml/2006/main" name="Office Theme">
  <a:themeElements>
    <a:clrScheme name="Copilot pallet">
      <a:dk1>
        <a:sysClr val="windowText" lastClr="000000"/>
      </a:dk1>
      <a:lt1>
        <a:sysClr val="window" lastClr="FFFFFF"/>
      </a:lt1>
      <a:dk2>
        <a:srgbClr val="091F2C"/>
      </a:dk2>
      <a:lt2>
        <a:srgbClr val="F4F3F5"/>
      </a:lt2>
      <a:accent1>
        <a:srgbClr val="C5B4E3"/>
      </a:accent1>
      <a:accent2>
        <a:srgbClr val="8661C5"/>
      </a:accent2>
      <a:accent3>
        <a:srgbClr val="463668"/>
      </a:accent3>
      <a:accent4>
        <a:srgbClr val="0078D4"/>
      </a:accent4>
      <a:accent5>
        <a:srgbClr val="2A446F"/>
      </a:accent5>
      <a:accent6>
        <a:srgbClr val="C03BC4"/>
      </a:accent6>
      <a:hlink>
        <a:srgbClr val="FFA38B"/>
      </a:hlink>
      <a:folHlink>
        <a:srgbClr val="FFE399"/>
      </a:folHlink>
    </a:clrScheme>
    <a:fontScheme name="Segoe UI">
      <a:majorFont>
        <a:latin typeface="Segoe UI Semibold"/>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Office Theme">
  <a:themeElements>
    <a:clrScheme name="Copilot pallet">
      <a:dk1>
        <a:sysClr val="windowText" lastClr="000000"/>
      </a:dk1>
      <a:lt1>
        <a:sysClr val="window" lastClr="FFFFFF"/>
      </a:lt1>
      <a:dk2>
        <a:srgbClr val="091F2C"/>
      </a:dk2>
      <a:lt2>
        <a:srgbClr val="F4F3F5"/>
      </a:lt2>
      <a:accent1>
        <a:srgbClr val="C5B4E3"/>
      </a:accent1>
      <a:accent2>
        <a:srgbClr val="8661C5"/>
      </a:accent2>
      <a:accent3>
        <a:srgbClr val="463668"/>
      </a:accent3>
      <a:accent4>
        <a:srgbClr val="0078D4"/>
      </a:accent4>
      <a:accent5>
        <a:srgbClr val="2A446F"/>
      </a:accent5>
      <a:accent6>
        <a:srgbClr val="C03BC4"/>
      </a:accent6>
      <a:hlink>
        <a:srgbClr val="FFA38B"/>
      </a:hlink>
      <a:folHlink>
        <a:srgbClr val="FFE399"/>
      </a:folHlink>
    </a:clrScheme>
    <a:fontScheme name="Segoe UI">
      <a:majorFont>
        <a:latin typeface="Segoe UI Semibold"/>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Override1.xml><?xml version="1.0" encoding="utf-8"?>
<a:themeOverride xmlns:a="http://schemas.openxmlformats.org/drawingml/2006/main">
  <a:clrScheme name="Copilot pallet">
    <a:dk1>
      <a:sysClr val="windowText" lastClr="000000"/>
    </a:dk1>
    <a:lt1>
      <a:sysClr val="window" lastClr="FFFFFF"/>
    </a:lt1>
    <a:dk2>
      <a:srgbClr val="091F2C"/>
    </a:dk2>
    <a:lt2>
      <a:srgbClr val="F4F3F5"/>
    </a:lt2>
    <a:accent1>
      <a:srgbClr val="C5B4E3"/>
    </a:accent1>
    <a:accent2>
      <a:srgbClr val="8661C5"/>
    </a:accent2>
    <a:accent3>
      <a:srgbClr val="463668"/>
    </a:accent3>
    <a:accent4>
      <a:srgbClr val="0078D4"/>
    </a:accent4>
    <a:accent5>
      <a:srgbClr val="2A446F"/>
    </a:accent5>
    <a:accent6>
      <a:srgbClr val="C03BC4"/>
    </a:accent6>
    <a:hlink>
      <a:srgbClr val="FFA38B"/>
    </a:hlink>
    <a:folHlink>
      <a:srgbClr val="FFE399"/>
    </a:folHlink>
  </a:clrScheme>
</a:themeOverride>
</file>

<file path=ppt/theme/themeOverride2.xml><?xml version="1.0" encoding="utf-8"?>
<a:themeOverride xmlns:a="http://schemas.openxmlformats.org/drawingml/2006/main">
  <a:clrScheme name="Copilot pallet">
    <a:dk1>
      <a:sysClr val="windowText" lastClr="000000"/>
    </a:dk1>
    <a:lt1>
      <a:sysClr val="window" lastClr="FFFFFF"/>
    </a:lt1>
    <a:dk2>
      <a:srgbClr val="091F2C"/>
    </a:dk2>
    <a:lt2>
      <a:srgbClr val="F4F3F5"/>
    </a:lt2>
    <a:accent1>
      <a:srgbClr val="C5B4E3"/>
    </a:accent1>
    <a:accent2>
      <a:srgbClr val="8661C5"/>
    </a:accent2>
    <a:accent3>
      <a:srgbClr val="463668"/>
    </a:accent3>
    <a:accent4>
      <a:srgbClr val="0078D4"/>
    </a:accent4>
    <a:accent5>
      <a:srgbClr val="2A446F"/>
    </a:accent5>
    <a:accent6>
      <a:srgbClr val="C03BC4"/>
    </a:accent6>
    <a:hlink>
      <a:srgbClr val="FFA38B"/>
    </a:hlink>
    <a:folHlink>
      <a:srgbClr val="FFE399"/>
    </a:folHlink>
  </a:clrScheme>
</a:themeOverride>
</file>

<file path=ppt/theme/themeOverride3.xml><?xml version="1.0" encoding="utf-8"?>
<a:themeOverride xmlns:a="http://schemas.openxmlformats.org/drawingml/2006/main">
  <a:clrScheme name="Copilot pallet">
    <a:dk1>
      <a:sysClr val="windowText" lastClr="000000"/>
    </a:dk1>
    <a:lt1>
      <a:sysClr val="window" lastClr="FFFFFF"/>
    </a:lt1>
    <a:dk2>
      <a:srgbClr val="091F2C"/>
    </a:dk2>
    <a:lt2>
      <a:srgbClr val="F4F3F5"/>
    </a:lt2>
    <a:accent1>
      <a:srgbClr val="C5B4E3"/>
    </a:accent1>
    <a:accent2>
      <a:srgbClr val="8661C5"/>
    </a:accent2>
    <a:accent3>
      <a:srgbClr val="463668"/>
    </a:accent3>
    <a:accent4>
      <a:srgbClr val="0078D4"/>
    </a:accent4>
    <a:accent5>
      <a:srgbClr val="2A446F"/>
    </a:accent5>
    <a:accent6>
      <a:srgbClr val="C03BC4"/>
    </a:accent6>
    <a:hlink>
      <a:srgbClr val="FFA38B"/>
    </a:hlink>
    <a:folHlink>
      <a:srgbClr val="FFE399"/>
    </a:folHlink>
  </a:clrScheme>
</a:themeOverride>
</file>

<file path=ppt/theme/themeOverride4.xml><?xml version="1.0" encoding="utf-8"?>
<a:themeOverride xmlns:a="http://schemas.openxmlformats.org/drawingml/2006/main">
  <a:clrScheme name="Copilot pallet">
    <a:dk1>
      <a:sysClr val="windowText" lastClr="000000"/>
    </a:dk1>
    <a:lt1>
      <a:sysClr val="window" lastClr="FFFFFF"/>
    </a:lt1>
    <a:dk2>
      <a:srgbClr val="091F2C"/>
    </a:dk2>
    <a:lt2>
      <a:srgbClr val="F4F3F5"/>
    </a:lt2>
    <a:accent1>
      <a:srgbClr val="C5B4E3"/>
    </a:accent1>
    <a:accent2>
      <a:srgbClr val="8661C5"/>
    </a:accent2>
    <a:accent3>
      <a:srgbClr val="463668"/>
    </a:accent3>
    <a:accent4>
      <a:srgbClr val="0078D4"/>
    </a:accent4>
    <a:accent5>
      <a:srgbClr val="2A446F"/>
    </a:accent5>
    <a:accent6>
      <a:srgbClr val="C03BC4"/>
    </a:accent6>
    <a:hlink>
      <a:srgbClr val="FFA38B"/>
    </a:hlink>
    <a:folHlink>
      <a:srgbClr val="FFE399"/>
    </a:folHlink>
  </a:clrScheme>
</a:themeOverride>
</file>

<file path=ppt/theme/themeOverride5.xml><?xml version="1.0" encoding="utf-8"?>
<a:themeOverride xmlns:a="http://schemas.openxmlformats.org/drawingml/2006/main">
  <a:clrScheme name="Copilot pallet">
    <a:dk1>
      <a:sysClr val="windowText" lastClr="000000"/>
    </a:dk1>
    <a:lt1>
      <a:sysClr val="window" lastClr="FFFFFF"/>
    </a:lt1>
    <a:dk2>
      <a:srgbClr val="091F2C"/>
    </a:dk2>
    <a:lt2>
      <a:srgbClr val="F4F3F5"/>
    </a:lt2>
    <a:accent1>
      <a:srgbClr val="C5B4E3"/>
    </a:accent1>
    <a:accent2>
      <a:srgbClr val="8661C5"/>
    </a:accent2>
    <a:accent3>
      <a:srgbClr val="463668"/>
    </a:accent3>
    <a:accent4>
      <a:srgbClr val="0078D4"/>
    </a:accent4>
    <a:accent5>
      <a:srgbClr val="2A446F"/>
    </a:accent5>
    <a:accent6>
      <a:srgbClr val="C03BC4"/>
    </a:accent6>
    <a:hlink>
      <a:srgbClr val="FFA38B"/>
    </a:hlink>
    <a:folHlink>
      <a:srgbClr val="FFE399"/>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1A8D030735CA3E4B9C779C022532B7D5" ma:contentTypeVersion="14" ma:contentTypeDescription="Create a new document." ma:contentTypeScope="" ma:versionID="fb46fb654b1982a1ecfe9526ee4386e9">
  <xsd:schema xmlns:xsd="http://www.w3.org/2001/XMLSchema" xmlns:xs="http://www.w3.org/2001/XMLSchema" xmlns:p="http://schemas.microsoft.com/office/2006/metadata/properties" xmlns:ns1="http://schemas.microsoft.com/sharepoint/v3" xmlns:ns2="3d1eada8-68ad-46cb-8116-2c5023655792" xmlns:ns3="fc8b6be3-cf54-4fa6-9998-c5773e462a23" targetNamespace="http://schemas.microsoft.com/office/2006/metadata/properties" ma:root="true" ma:fieldsID="52d6bbea153fbca6513d6b7fb6f75a74" ns1:_="" ns2:_="" ns3:_="">
    <xsd:import namespace="http://schemas.microsoft.com/sharepoint/v3"/>
    <xsd:import namespace="3d1eada8-68ad-46cb-8116-2c5023655792"/>
    <xsd:import namespace="fc8b6be3-cf54-4fa6-9998-c5773e462a23"/>
    <xsd:element name="properties">
      <xsd:complexType>
        <xsd:sequence>
          <xsd:element name="documentManagement">
            <xsd:complexType>
              <xsd:all>
                <xsd:element ref="ns2:MediaServiceBillingMetadata" minOccurs="0"/>
                <xsd:element ref="ns2:MediaServiceMetadata" minOccurs="0"/>
                <xsd:element ref="ns2:MediaServiceFastMetadata" minOccurs="0"/>
                <xsd:element ref="ns2:MediaServiceSearchProperties" minOccurs="0"/>
                <xsd:element ref="ns1:_ip_UnifiedCompliancePolicyProperties" minOccurs="0"/>
                <xsd:element ref="ns1:_ip_UnifiedCompliancePolicyUIAction" minOccurs="0"/>
                <xsd:element ref="ns2:MediaServiceDateTaken" minOccurs="0"/>
                <xsd:element ref="ns2:MediaServiceGenerationTime" minOccurs="0"/>
                <xsd:element ref="ns2:MediaServiceEventHashCode" minOccurs="0"/>
                <xsd:element ref="ns2:MediaLengthInSeconds" minOccurs="0"/>
                <xsd:element ref="ns2:lcf76f155ced4ddcb4097134ff3c332f" minOccurs="0"/>
                <xsd:element ref="ns3:TaxCatchAll" minOccurs="0"/>
                <xsd:element ref="ns2:MediaServiceOCR"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2" nillable="true" ma:displayName="Unified Compliance Policy Properties" ma:hidden="true" ma:internalName="_ip_UnifiedCompliancePolicyProperties">
      <xsd:simpleType>
        <xsd:restriction base="dms:Note"/>
      </xsd:simpleType>
    </xsd:element>
    <xsd:element name="_ip_UnifiedCompliancePolicyUIAction" ma:index="13"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3d1eada8-68ad-46cb-8116-2c5023655792" elementFormDefault="qualified">
    <xsd:import namespace="http://schemas.microsoft.com/office/2006/documentManagement/types"/>
    <xsd:import namespace="http://schemas.microsoft.com/office/infopath/2007/PartnerControls"/>
    <xsd:element name="MediaServiceBillingMetadata" ma:index="8" nillable="true" ma:displayName="MediaServiceBillingMetadata" ma:hidden="true" ma:internalName="MediaServiceBillingMetadata" ma:readOnly="true">
      <xsd:simpleType>
        <xsd:restriction base="dms:Note"/>
      </xsd:simpleType>
    </xsd:element>
    <xsd:element name="MediaServiceMetadata" ma:index="9" nillable="true" ma:displayName="MediaServiceMetadata" ma:hidden="true" ma:internalName="MediaServiceMetadata" ma:readOnly="true">
      <xsd:simpleType>
        <xsd:restriction base="dms:Note"/>
      </xsd:simpleType>
    </xsd:element>
    <xsd:element name="MediaServiceFastMetadata" ma:index="10" nillable="true" ma:displayName="MediaServiceFastMetadata" ma:hidden="true" ma:internalName="MediaServiceFastMetadata" ma:readOnly="true">
      <xsd:simpleType>
        <xsd:restriction base="dms:Note"/>
      </xsd:simpleType>
    </xsd:element>
    <xsd:element name="MediaServiceSearchProperties" ma:index="11" nillable="true" ma:displayName="MediaServiceSearchProperties" ma:hidden="true" ma:internalName="MediaServiceSearchProperties" ma:readOnly="true">
      <xsd:simpleType>
        <xsd:restriction base="dms:Note"/>
      </xsd:simpleType>
    </xsd:element>
    <xsd:element name="MediaServiceDateTaken" ma:index="14" nillable="true" ma:displayName="MediaServiceDateTaken" ma:hidden="true" ma:indexed="true" ma:internalName="MediaServiceDateTaken" ma:readOnly="true">
      <xsd:simpleType>
        <xsd:restriction base="dms:Text"/>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LengthInSeconds" ma:index="17" nillable="true" ma:displayName="MediaLengthInSeconds" ma:hidden="true" ma:internalName="MediaLengthInSeconds" ma:readOnly="true">
      <xsd:simpleType>
        <xsd:restriction base="dms:Unknown"/>
      </xsd:simpleType>
    </xsd:element>
    <xsd:element name="lcf76f155ced4ddcb4097134ff3c332f" ma:index="19" nillable="true" ma:taxonomy="true" ma:internalName="lcf76f155ced4ddcb4097134ff3c332f" ma:taxonomyFieldName="MediaServiceImageTags" ma:displayName="Image Tags" ma:readOnly="false" ma:fieldId="{5cf76f15-5ced-4ddc-b409-7134ff3c332f}" ma:taxonomyMulti="true" ma:sspId="e385fb40-52d4-4fae-9c5b-3e8ff8a5878e" ma:termSetId="09814cd3-568e-fe90-9814-8d621ff8fb84" ma:anchorId="fba54fb3-c3e1-fe81-a776-ca4b69148c4d" ma:open="true" ma:isKeyword="false">
      <xsd:complexType>
        <xsd:sequence>
          <xsd:element ref="pc:Terms" minOccurs="0" maxOccurs="1"/>
        </xsd:sequence>
      </xsd:complexType>
    </xsd:element>
    <xsd:element name="MediaServiceOCR" ma:index="21" nillable="true" ma:displayName="Extracted Text" ma:internalName="MediaServiceOCR"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fc8b6be3-cf54-4fa6-9998-c5773e462a23" elementFormDefault="qualified">
    <xsd:import namespace="http://schemas.microsoft.com/office/2006/documentManagement/types"/>
    <xsd:import namespace="http://schemas.microsoft.com/office/infopath/2007/PartnerControls"/>
    <xsd:element name="TaxCatchAll" ma:index="20" nillable="true" ma:displayName="Taxonomy Catch All Column" ma:hidden="true" ma:list="{d829337c-e1a2-4421-afae-f395efb0d9ec}" ma:internalName="TaxCatchAll" ma:showField="CatchAllData" ma:web="fc8b6be3-cf54-4fa6-9998-c5773e462a23">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3d1eada8-68ad-46cb-8116-2c5023655792">
      <Terms xmlns="http://schemas.microsoft.com/office/infopath/2007/PartnerControls"/>
    </lcf76f155ced4ddcb4097134ff3c332f>
    <TaxCatchAll xmlns="fc8b6be3-cf54-4fa6-9998-c5773e462a23" xsi:nil="true"/>
    <_ip_UnifiedCompliancePolicyUIAction xmlns="http://schemas.microsoft.com/sharepoint/v3" xsi:nil="true"/>
    <_ip_UnifiedCompliancePolicyProperties xmlns="http://schemas.microsoft.com/sharepoint/v3"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51F6A48F-7284-4F02-B5AA-4D34EFBA7CC4}">
  <ds:schemaRefs>
    <ds:schemaRef ds:uri="3d1eada8-68ad-46cb-8116-2c5023655792"/>
    <ds:schemaRef ds:uri="fc8b6be3-cf54-4fa6-9998-c5773e462a23"/>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microsoft.com/sharepoint/v3"/>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879E914F-36C6-4230-82D4-96BC2E731792}">
  <ds:schemaRefs>
    <ds:schemaRef ds:uri="http://schemas.microsoft.com/office/2006/documentManagement/types"/>
    <ds:schemaRef ds:uri="http://schemas.openxmlformats.org/package/2006/metadata/core-properties"/>
    <ds:schemaRef ds:uri="http://purl.org/dc/elements/1.1/"/>
    <ds:schemaRef ds:uri="fc8b6be3-cf54-4fa6-9998-c5773e462a23"/>
    <ds:schemaRef ds:uri="3d1eada8-68ad-46cb-8116-2c5023655792"/>
    <ds:schemaRef ds:uri="http://purl.org/dc/dcmitype/"/>
    <ds:schemaRef ds:uri="http://schemas.microsoft.com/office/infopath/2007/PartnerControls"/>
    <ds:schemaRef ds:uri="http://www.w3.org/XML/1998/namespace"/>
    <ds:schemaRef ds:uri="http://schemas.microsoft.com/sharepoint/v3"/>
    <ds:schemaRef ds:uri="http://schemas.microsoft.com/office/2006/metadata/properties"/>
    <ds:schemaRef ds:uri="http://purl.org/dc/terms/"/>
  </ds:schemaRefs>
</ds:datastoreItem>
</file>

<file path=customXml/itemProps3.xml><?xml version="1.0" encoding="utf-8"?>
<ds:datastoreItem xmlns:ds="http://schemas.openxmlformats.org/officeDocument/2006/customXml" ds:itemID="{676A9201-DD81-41A8-9F6B-D9DA27614B58}">
  <ds:schemaRefs>
    <ds:schemaRef ds:uri="http://schemas.microsoft.com/sharepoint/v3/contenttype/forms"/>
  </ds:schemaRefs>
</ds:datastoreItem>
</file>

<file path=docMetadata/LabelInfo.xml><?xml version="1.0" encoding="utf-8"?>
<clbl:labelList xmlns:clbl="http://schemas.microsoft.com/office/2020/mipLabelMetadata">
  <clbl:label id="{f42aa342-8706-4288-bd11-ebb85995028c}" enabled="1" method="Privileged" siteId="{72f988bf-86f1-41af-91ab-2d7cd011db47}" removed="0"/>
</clbl:labelList>
</file>

<file path=docProps/app.xml><?xml version="1.0" encoding="utf-8"?>
<Properties xmlns="http://schemas.openxmlformats.org/officeDocument/2006/extended-properties" xmlns:vt="http://schemas.openxmlformats.org/officeDocument/2006/docPropsVTypes">
  <Template/>
  <TotalTime>0</TotalTime>
  <Words>1006</Words>
  <Application>Microsoft Office PowerPoint</Application>
  <PresentationFormat>Widescreen</PresentationFormat>
  <Paragraphs>112</Paragraphs>
  <Slides>10</Slides>
  <Notes>10</Notes>
  <HiddenSlides>0</HiddenSlides>
  <MMClips>0</MMClips>
  <ScaleCrop>false</ScaleCrop>
  <HeadingPairs>
    <vt:vector size="4" baseType="variant">
      <vt:variant>
        <vt:lpstr>Theme</vt:lpstr>
      </vt:variant>
      <vt:variant>
        <vt:i4>2</vt:i4>
      </vt:variant>
      <vt:variant>
        <vt:lpstr>Slide Titles</vt:lpstr>
      </vt:variant>
      <vt:variant>
        <vt:i4>10</vt:i4>
      </vt:variant>
    </vt:vector>
  </HeadingPairs>
  <TitlesOfParts>
    <vt:vector size="12" baseType="lpstr">
      <vt:lpstr>Office Theme</vt:lpstr>
      <vt:lpstr>1_Office Theme</vt:lpstr>
      <vt:lpstr>Copilot Agent Hackathon</vt:lpstr>
      <vt:lpstr>Contents</vt:lpstr>
      <vt:lpstr>Why you should run a Hackathon</vt:lpstr>
      <vt:lpstr>Agent Hackathon objectives </vt:lpstr>
      <vt:lpstr>Event Agenda </vt:lpstr>
      <vt:lpstr>Attendee requirements</vt:lpstr>
      <vt:lpstr>Speakers &amp; supporting team</vt:lpstr>
      <vt:lpstr>Event recommendations</vt:lpstr>
      <vt:lpstr>Event recommendations </vt:lpstr>
      <vt:lpstr>Added event consideration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gent Hackathon - Internal Overview</dc:title>
  <dc:creator>Paula Costa</dc:creator>
  <cp:lastModifiedBy>Alicia Peterson (NAYAMODE INC)</cp:lastModifiedBy>
  <cp:revision>3</cp:revision>
  <dcterms:created xsi:type="dcterms:W3CDTF">2025-01-21T09:39:04Z</dcterms:created>
  <dcterms:modified xsi:type="dcterms:W3CDTF">2026-05-29T16:40:0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1A8D030735CA3E4B9C779C022532B7D5</vt:lpwstr>
  </property>
  <property fmtid="{D5CDD505-2E9C-101B-9397-08002B2CF9AE}" pid="3" name="Order">
    <vt:lpwstr>5578400.00000000</vt:lpwstr>
  </property>
  <property fmtid="{D5CDD505-2E9C-101B-9397-08002B2CF9AE}" pid="4" name="Size">
    <vt:lpwstr>204106908.000000</vt:lpwstr>
  </property>
  <property fmtid="{D5CDD505-2E9C-101B-9397-08002B2CF9AE}" pid="5" name="xd_ProgID">
    <vt:lpwstr/>
  </property>
  <property fmtid="{D5CDD505-2E9C-101B-9397-08002B2CF9AE}" pid="6" name="MediaServiceImageTags">
    <vt:lpwstr/>
  </property>
  <property fmtid="{D5CDD505-2E9C-101B-9397-08002B2CF9AE}" pid="7" name="ComplianceAssetId">
    <vt:lpwstr/>
  </property>
  <property fmtid="{D5CDD505-2E9C-101B-9397-08002B2CF9AE}" pid="8" name="TemplateUrl">
    <vt:lpwstr/>
  </property>
  <property fmtid="{D5CDD505-2E9C-101B-9397-08002B2CF9AE}" pid="9" name="_ExtendedDescription">
    <vt:lpwstr/>
  </property>
  <property fmtid="{D5CDD505-2E9C-101B-9397-08002B2CF9AE}" pid="10" name="TriggerFlowInfo">
    <vt:lpwstr/>
  </property>
  <property fmtid="{D5CDD505-2E9C-101B-9397-08002B2CF9AE}" pid="11" name="xd_Signature">
    <vt:lpwstr/>
  </property>
</Properties>
</file>